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1" r:id="rId2"/>
    <p:sldId id="279" r:id="rId3"/>
    <p:sldId id="278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F008C"/>
    <a:srgbClr val="1F497D"/>
    <a:srgbClr val="6200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4F9119-D4A5-4CBC-8D0E-E72D64FC15DD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DFF39D8-5900-4651-9161-1BD8F3EE85B0}">
      <dgm:prSet phldrT="[Text]" custT="1"/>
      <dgm:spPr>
        <a:solidFill>
          <a:srgbClr val="FFC0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ope</a:t>
          </a:r>
        </a:p>
        <a:p>
          <a:r>
            <a:rPr lang="en-US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ar-JO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79</a:t>
          </a:r>
          <a:endParaRPr lang="en-US" sz="9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5CC38D6-DE25-4433-BA8B-600F25596B29}" type="parTrans" cxnId="{4DC150A8-7E3B-41DA-929F-9988A885F3E5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B42A26-CD35-4C1C-8A64-D16DB15181CF}" type="sibTrans" cxnId="{4DC150A8-7E3B-41DA-929F-9988A885F3E5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1DCC61A-B4B4-4B36-A700-C6A035B043F4}">
      <dgm:prSet phldrT="[Text]" custT="1"/>
      <dgm:spPr>
        <a:solidFill>
          <a:srgbClr val="00B05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dirty="0">
              <a:latin typeface="Arial" panose="020B0604020202020204" pitchFamily="34" charset="0"/>
              <a:cs typeface="Arial" panose="020B0604020202020204" pitchFamily="34" charset="0"/>
            </a:rPr>
            <a:t>HOC</a:t>
          </a:r>
        </a:p>
        <a:p>
          <a:r>
            <a:rPr lang="en-US" sz="900" b="1" dirty="0">
              <a:latin typeface="Arial" panose="020B0604020202020204" pitchFamily="34" charset="0"/>
              <a:cs typeface="Arial" panose="020B0604020202020204" pitchFamily="34" charset="0"/>
            </a:rPr>
            <a:t>25</a:t>
          </a:r>
          <a:r>
            <a:rPr lang="ar-JO" sz="900" b="1" dirty="0">
              <a:latin typeface="Arial" panose="020B0604020202020204" pitchFamily="34" charset="0"/>
              <a:cs typeface="Arial" panose="020B0604020202020204" pitchFamily="34" charset="0"/>
            </a:rPr>
            <a:t>6</a:t>
          </a:r>
          <a:endParaRPr lang="en-US" sz="9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D18D55-B908-4C02-8013-34C52F415E4D}" type="parTrans" cxnId="{E2481E14-EC50-4F07-A9C3-A075DA29B47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CF5BBD-6EE2-4542-9D55-2A2CC11C5BD4}" type="sibTrans" cxnId="{E2481E14-EC50-4F07-A9C3-A075DA29B47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C66D51F-72B7-4B4C-A693-B5B6EE79A69B}">
      <dgm:prSet phldrT="[Text]" custT="1"/>
      <dgm:spPr>
        <a:solidFill>
          <a:srgbClr val="7030A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Remaining Sites</a:t>
          </a:r>
          <a:endParaRPr lang="en-US" sz="900" b="1" i="0" dirty="0">
            <a:solidFill>
              <a:prstClr val="white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r>
            <a:rPr lang="en-US" sz="9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ar-JO" sz="9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3</a:t>
          </a:r>
          <a:endParaRPr lang="en-US" sz="900" b="1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34BD0F-4F8C-43EA-8A9D-988390039826}" type="parTrans" cxnId="{19122E58-E384-4873-8552-A0A1AAD76FAD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933215-B5BC-4FF4-9D82-9DAB521F8747}" type="sibTrans" cxnId="{19122E58-E384-4873-8552-A0A1AAD76FAD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FE158A-247F-4276-A429-1DBDC971A425}">
      <dgm:prSet custT="1"/>
      <dgm:spPr>
        <a:solidFill>
          <a:srgbClr val="426FBF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kkah Sites</a:t>
          </a:r>
        </a:p>
        <a:p>
          <a:r>
            <a:rPr lang="en-US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14</a:t>
          </a:r>
        </a:p>
      </dgm:t>
    </dgm:pt>
    <dgm:pt modelId="{5F652CCE-16ED-46E7-AF9D-89912AE8A270}" type="parTrans" cxnId="{BEF19704-14CD-4A84-BE71-EA809DFAE9B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15E53E-0387-45BB-825D-055CB3FEB18E}" type="sibTrans" cxnId="{BEF19704-14CD-4A84-BE71-EA809DFAE9B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2BB9DE6-B588-4262-9FA7-7729C05F4C37}">
      <dgm:prSet custT="1"/>
      <dgm:spPr>
        <a:solidFill>
          <a:srgbClr val="426FBF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dinah Sites</a:t>
          </a:r>
        </a:p>
        <a:p>
          <a:r>
            <a:rPr lang="en-US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2</a:t>
          </a:r>
        </a:p>
      </dgm:t>
    </dgm:pt>
    <dgm:pt modelId="{DB484D28-504A-41D8-B238-1F6DF21F2CAC}" type="parTrans" cxnId="{CC386CF2-07EA-40C9-991B-6357C75A610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39E749-8D7B-4B5C-B869-DF585390619D}" type="sibTrans" cxnId="{CC386CF2-07EA-40C9-991B-6357C75A610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FB885E2-C051-4A96-A7DD-C019D02EF671}">
      <dgm:prSet custT="1"/>
      <dgm:spPr>
        <a:solidFill>
          <a:srgbClr val="426FBF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Other District Sites</a:t>
          </a:r>
        </a:p>
        <a:p>
          <a:r>
            <a: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</a:t>
          </a:r>
          <a:r>
            <a:rPr lang="ar-JO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7</a:t>
          </a:r>
          <a:r>
            <a:rPr lang="en-US" sz="9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Sites</a:t>
          </a:r>
          <a:endParaRPr lang="en-US" sz="9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75CD14-F0EC-4B6B-9114-BC57F0AC764E}" type="parTrans" cxnId="{53EA199C-8470-4DCC-967F-472AFBFCD9D6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04D663F-F3B2-481D-8C36-A898AFE2B031}" type="sibTrans" cxnId="{53EA199C-8470-4DCC-967F-472AFBFCD9D6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C0FBD5-D459-4683-92A0-5B6AFD13C2D1}">
      <dgm:prSet custT="1"/>
      <dgm:spPr>
        <a:solidFill>
          <a:srgbClr val="FC4C02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mana Sites</a:t>
          </a:r>
        </a:p>
        <a:p>
          <a:r>
            <a:rPr lang="en-US" sz="8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2 Sites</a:t>
          </a:r>
        </a:p>
      </dgm:t>
    </dgm:pt>
    <dgm:pt modelId="{269C5185-3247-4439-9D85-03AE70643AC4}" type="parTrans" cxnId="{3445A991-7871-4592-AA7F-19FC5B17BEB8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2AD4941-4704-442F-ACFB-F718E5A75C14}" type="sibTrans" cxnId="{3445A991-7871-4592-AA7F-19FC5B17BEB8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4EC4DFA-2AAC-4CDF-89EE-D40679A92F44}">
      <dgm:prSet custT="1"/>
      <dgm:spPr>
        <a:solidFill>
          <a:srgbClr val="00206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ivate Sites </a:t>
          </a:r>
        </a:p>
        <a:p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</a:t>
          </a:r>
          <a:r>
            <a:rPr lang="ar-JO" sz="85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Sites</a:t>
          </a:r>
          <a:endParaRPr lang="en-US" sz="85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173C3A0-56D4-4307-98E3-1ECC1EE5AA51}" type="parTrans" cxnId="{88B71F7F-5A1C-42D8-9C0C-481BBE4D823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617765-E0B1-4CDE-8F2B-3C6BD8E45982}" type="sibTrans" cxnId="{88B71F7F-5A1C-42D8-9C0C-481BBE4D823C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8B477B-F195-4953-B1B1-1E029511A24E}">
      <dgm:prSet custT="1"/>
      <dgm:spPr>
        <a:solidFill>
          <a:srgbClr val="00206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spcFirstLastPara="0" vert="horz" wrap="square" lIns="5715" tIns="5715" rIns="5715" bIns="5715" numCol="1" spcCol="1270" anchor="ctr" anchorCtr="0"/>
        <a:lstStyle/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ivate Sites</a:t>
          </a:r>
        </a:p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4 Sites</a:t>
          </a:r>
        </a:p>
      </dgm:t>
    </dgm:pt>
    <dgm:pt modelId="{1DB0579D-5F15-4F8D-95F6-A61C68DA2658}" type="parTrans" cxnId="{4D1DD857-9736-43DD-AA0E-97104262ABA9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573EA90-DDB7-435B-8E0C-263B47F9AAFD}" type="sibTrans" cxnId="{4D1DD857-9736-43DD-AA0E-97104262ABA9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2F640D2-1069-4FBD-BFCE-92B02BF6B241}">
      <dgm:prSet custT="1"/>
      <dgm:spPr>
        <a:solidFill>
          <a:srgbClr val="FC4C02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spcFirstLastPara="0" vert="horz" wrap="square" lIns="5715" tIns="5715" rIns="5715" bIns="5715" numCol="1" spcCol="1270" anchor="ctr" anchorCtr="0"/>
        <a:lstStyle/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mana Sites</a:t>
          </a:r>
        </a:p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 Sites</a:t>
          </a:r>
        </a:p>
      </dgm:t>
    </dgm:pt>
    <dgm:pt modelId="{452B28C7-1E7C-4583-B288-6038DCCC7C9B}" type="parTrans" cxnId="{882F584A-71A6-4C7C-A1C6-E22CE10C4713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B6822A6-2C02-4866-8E9E-D9F6E2DFE21B}" type="sibTrans" cxnId="{882F584A-71A6-4C7C-A1C6-E22CE10C4713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59A22C6-E898-4313-8121-BFB13BEA63F5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26670" tIns="26670" rIns="26670" bIns="26670" numCol="1" spcCol="1270" anchor="ctr" anchorCtr="0"/>
        <a:lstStyle/>
        <a:p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</a:t>
          </a: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BP</a:t>
          </a: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 Process</a:t>
          </a:r>
        </a:p>
        <a:p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4 Sites</a:t>
          </a:r>
        </a:p>
      </dgm:t>
    </dgm:pt>
    <dgm:pt modelId="{2C402769-9A26-4CFD-BF51-CFD2A552E6C8}" type="parTrans" cxnId="{D427B003-0AD9-4178-8CD4-1839BAB0735F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C809974-FD69-43AB-90AF-21C3571A0087}" type="sibTrans" cxnId="{D427B003-0AD9-4178-8CD4-1839BAB0735F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90411C-9D17-4F45-B488-5EFCBAF4C9E7}">
      <dgm:prSet custT="1"/>
      <dgm:spPr/>
      <dgm:t>
        <a:bodyPr/>
        <a:lstStyle/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Under LA &amp; FBP</a:t>
          </a:r>
        </a:p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10 Sites</a:t>
          </a:r>
        </a:p>
      </dgm:t>
    </dgm:pt>
    <dgm:pt modelId="{7E946560-0408-472D-95F2-546DA8641F12}" type="parTrans" cxnId="{840EB31E-C0B0-425E-9F85-DE8C05F6A083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C3B1FC2-AFA0-4019-A664-4C086016A28B}" type="sibTrans" cxnId="{840EB31E-C0B0-425E-9F85-DE8C05F6A083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45CD2B3-C147-4DBE-9104-382E80D28D32}">
      <dgm:prSet custT="1"/>
      <dgm:spPr/>
      <dgm:t>
        <a:bodyPr/>
        <a:lstStyle/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Under LA Issuance</a:t>
          </a:r>
        </a:p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gm:t>
    </dgm:pt>
    <dgm:pt modelId="{614DBEBE-0B13-43C9-907F-68C94C8DBF5E}" type="parTrans" cxnId="{DD608CD4-50A0-44AA-B0C0-5A2C21375894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DEA72E-3195-4D96-845B-E9E16FD6B229}" type="sibTrans" cxnId="{DD608CD4-50A0-44AA-B0C0-5A2C21375894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8C3D90-990F-4A3F-B3B3-05F35D149A5B}">
      <dgm:prSet custT="1"/>
      <dgm:spPr/>
      <dgm:t>
        <a:bodyPr/>
        <a:lstStyle/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Newly Added under LA Issuance</a:t>
          </a:r>
        </a:p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gm:t>
    </dgm:pt>
    <dgm:pt modelId="{016A27C9-6FAF-4EE1-8887-ACB99BA2F3A4}" type="parTrans" cxnId="{D34444E1-5124-42EF-9787-ECBC743B58A1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293E869-5C11-42F2-AFEA-D12C1C7C2E63}" type="sibTrans" cxnId="{D34444E1-5124-42EF-9787-ECBC743B58A1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7F43309-0E32-485D-85FC-56C111F547CF}">
      <dgm:prSet custT="1"/>
      <dgm:spPr>
        <a:solidFill>
          <a:schemeClr val="accent6">
            <a:lumMod val="75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8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Gov. Sites</a:t>
          </a:r>
        </a:p>
        <a:p>
          <a:r>
            <a:rPr lang="en-US" sz="8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gm:t>
    </dgm:pt>
    <dgm:pt modelId="{6145046C-1FA4-4B6B-AC64-1D893E9145EF}" type="parTrans" cxnId="{1F8A5DCD-9B69-422C-A54E-893DD3C37B6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26189D8-AF61-4B26-B5B7-9DCB043A8E59}" type="sibTrans" cxnId="{1F8A5DCD-9B69-422C-A54E-893DD3C37B6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C0DBA2-D6AB-4BA5-B984-753FF8D0B5A8}">
      <dgm:prSet custT="1"/>
      <dgm:spPr>
        <a:solidFill>
          <a:schemeClr val="accent2">
            <a:lumMod val="75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Under Sharing </a:t>
          </a:r>
        </a:p>
        <a:p>
          <a:r>
            <a:rPr lang="en-US" sz="850" b="1" i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</a:t>
          </a:r>
          <a:endParaRPr lang="en-US" sz="85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C58E1E-8937-4E77-904A-7692219472B6}" type="parTrans" cxnId="{30996502-5B36-4D72-85CC-4ACB78ECBE6A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026F3A-8610-4EF5-8C03-949FA9E43D7E}" type="sibTrans" cxnId="{30996502-5B36-4D72-85CC-4ACB78ECBE6A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748E57-5937-48B4-940C-07B7E048FF83}">
      <dgm:prSet custT="1"/>
      <dgm:spPr/>
      <dgm:t>
        <a:bodyPr/>
        <a:lstStyle/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Under FBP/New Baladi sys.</a:t>
          </a:r>
        </a:p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02 Sites</a:t>
          </a:r>
        </a:p>
      </dgm:t>
    </dgm:pt>
    <dgm:pt modelId="{EF7F9F21-2189-4D13-B310-9148A3689279}" type="parTrans" cxnId="{C2D14B04-6AB0-48EE-9377-9DFB7E6A9ED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72FCF5-4F74-47FE-8BFE-E813975F3A9A}" type="sibTrans" cxnId="{C2D14B04-6AB0-48EE-9377-9DFB7E6A9ED0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213909-EC90-4C28-A117-365A6E7EBEE2}">
      <dgm:prSet custT="1"/>
      <dgm:spPr/>
      <dgm:t>
        <a:bodyPr/>
        <a:lstStyle/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Under Tender Apply or LA Issuance</a:t>
          </a:r>
        </a:p>
        <a:p>
          <a:r>
            <a:rPr lang="en-US" sz="750" b="1" dirty="0">
              <a:latin typeface="Arial" panose="020B0604020202020204" pitchFamily="34" charset="0"/>
              <a:cs typeface="Arial" panose="020B0604020202020204" pitchFamily="34" charset="0"/>
            </a:rPr>
            <a:t>01 Site</a:t>
          </a:r>
        </a:p>
      </dgm:t>
    </dgm:pt>
    <dgm:pt modelId="{5F8A6A9C-003B-4A47-8916-11E2B639F1D9}" type="parTrans" cxnId="{9AF252EE-CDB6-4F04-9914-C32F7858D616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4BC110A-BA4A-4298-88DD-6359FC2B85C9}" type="sibTrans" cxnId="{9AF252EE-CDB6-4F04-9914-C32F7858D616}">
      <dgm:prSet/>
      <dgm:spPr/>
      <dgm:t>
        <a:bodyPr/>
        <a:lstStyle/>
        <a:p>
          <a:endParaRPr lang="en-US" sz="85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7D5D9D6-B95C-4E22-8BC2-54316265C412}">
      <dgm:prSet custT="1"/>
      <dgm:spPr>
        <a:solidFill>
          <a:srgbClr val="FC4C02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spcFirstLastPara="0" vert="horz" wrap="square" lIns="34290" tIns="34290" rIns="34290" bIns="34290" numCol="1" spcCol="1270" anchor="ctr" anchorCtr="0"/>
        <a:lstStyle/>
        <a:p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Amana Sites</a:t>
          </a:r>
        </a:p>
        <a:p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</a:t>
          </a:r>
          <a:r>
            <a:rPr lang="ar-JO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</a:t>
          </a: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Sites</a:t>
          </a:r>
        </a:p>
      </dgm:t>
    </dgm:pt>
    <dgm:pt modelId="{6FEABF38-9874-45FE-A7BF-85F55F6DD634}" type="parTrans" cxnId="{2F6CFA51-A063-47B2-9DDC-0E0F9C241EB4}">
      <dgm:prSet/>
      <dgm:spPr/>
      <dgm:t>
        <a:bodyPr/>
        <a:lstStyle/>
        <a:p>
          <a:endParaRPr lang="en-US"/>
        </a:p>
      </dgm:t>
    </dgm:pt>
    <dgm:pt modelId="{50500AD0-6BA5-49FF-81D3-D50FC6D989BF}" type="sibTrans" cxnId="{2F6CFA51-A063-47B2-9DDC-0E0F9C241EB4}">
      <dgm:prSet/>
      <dgm:spPr/>
      <dgm:t>
        <a:bodyPr/>
        <a:lstStyle/>
        <a:p>
          <a:endParaRPr lang="en-US"/>
        </a:p>
      </dgm:t>
    </dgm:pt>
    <dgm:pt modelId="{21E09445-E024-41DC-800F-8E6C1C71BA99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30480" rIns="30480" bIns="30480" numCol="1" spcCol="1270" anchor="ctr" anchorCtr="0"/>
        <a:lstStyle/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Newly Added </a:t>
          </a:r>
        </a:p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LA Issuance</a:t>
          </a:r>
        </a:p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gm:t>
    </dgm:pt>
    <dgm:pt modelId="{C9282E00-C7E0-491D-9E0B-263C3D8091E7}" type="parTrans" cxnId="{52E7803B-1101-4576-906A-B461A1B6C83E}">
      <dgm:prSet/>
      <dgm:spPr/>
      <dgm:t>
        <a:bodyPr/>
        <a:lstStyle/>
        <a:p>
          <a:endParaRPr lang="en-US"/>
        </a:p>
      </dgm:t>
    </dgm:pt>
    <dgm:pt modelId="{0DD45860-E772-436D-8816-C8A8AECAEF98}" type="sibTrans" cxnId="{52E7803B-1101-4576-906A-B461A1B6C83E}">
      <dgm:prSet/>
      <dgm:spPr/>
      <dgm:t>
        <a:bodyPr/>
        <a:lstStyle/>
        <a:p>
          <a:endParaRPr lang="en-US"/>
        </a:p>
      </dgm:t>
    </dgm:pt>
    <dgm:pt modelId="{B2F45F0E-4227-4D73-B112-920DB5682615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30480" rIns="30480" bIns="30480" numCol="1" spcCol="1270" anchor="ctr" anchorCtr="0"/>
        <a:lstStyle/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Newly Added LA Renewed with Existing Site Owner</a:t>
          </a:r>
        </a:p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gm:t>
    </dgm:pt>
    <dgm:pt modelId="{DBD19B85-BB5E-44EE-ADAC-797423E3C527}" type="parTrans" cxnId="{BA106EA0-C0CD-4E60-AB9D-33D162CA54EC}">
      <dgm:prSet/>
      <dgm:spPr/>
      <dgm:t>
        <a:bodyPr/>
        <a:lstStyle/>
        <a:p>
          <a:endParaRPr lang="en-US"/>
        </a:p>
      </dgm:t>
    </dgm:pt>
    <dgm:pt modelId="{DDC29DCC-C530-4E17-A6CF-55F3B4303069}" type="sibTrans" cxnId="{BA106EA0-C0CD-4E60-AB9D-33D162CA54EC}">
      <dgm:prSet/>
      <dgm:spPr/>
      <dgm:t>
        <a:bodyPr/>
        <a:lstStyle/>
        <a:p>
          <a:endParaRPr lang="en-US"/>
        </a:p>
      </dgm:t>
    </dgm:pt>
    <dgm:pt modelId="{1E93BC21-1EF3-4282-A1C3-24CD0CBAC899}">
      <dgm:prSet custT="1"/>
      <dgm:spPr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30480" rIns="30480" bIns="30480" numCol="1" spcCol="1270" anchor="ctr" anchorCtr="0"/>
        <a:lstStyle/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Under Initial Approval from Amana</a:t>
          </a:r>
        </a:p>
        <a:p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gm:t>
    </dgm:pt>
    <dgm:pt modelId="{983AFBED-B1FD-4F2C-ACC0-A5D2C731FC83}" type="sibTrans" cxnId="{F27A1083-D591-462B-885C-78F5D3EFC546}">
      <dgm:prSet/>
      <dgm:spPr/>
      <dgm:t>
        <a:bodyPr/>
        <a:lstStyle/>
        <a:p>
          <a:endParaRPr lang="en-US"/>
        </a:p>
      </dgm:t>
    </dgm:pt>
    <dgm:pt modelId="{CC3AAE7F-CAD3-4F56-A2B2-59E346107F08}" type="parTrans" cxnId="{F27A1083-D591-462B-885C-78F5D3EFC546}">
      <dgm:prSet/>
      <dgm:spPr/>
      <dgm:t>
        <a:bodyPr/>
        <a:lstStyle/>
        <a:p>
          <a:endParaRPr lang="en-US"/>
        </a:p>
      </dgm:t>
    </dgm:pt>
    <dgm:pt modelId="{F59FA8BF-59EF-4ACB-8C2A-7905B1801BD1}" type="pres">
      <dgm:prSet presAssocID="{BE4F9119-D4A5-4CBC-8D0E-E72D64FC15D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2544892-2ABC-4F51-B2A2-281368354FAD}" type="pres">
      <dgm:prSet presAssocID="{BDFF39D8-5900-4651-9161-1BD8F3EE85B0}" presName="hierRoot1" presStyleCnt="0"/>
      <dgm:spPr/>
    </dgm:pt>
    <dgm:pt modelId="{CD276451-7DD5-44F0-A01A-1809401CF887}" type="pres">
      <dgm:prSet presAssocID="{BDFF39D8-5900-4651-9161-1BD8F3EE85B0}" presName="composite" presStyleCnt="0"/>
      <dgm:spPr/>
    </dgm:pt>
    <dgm:pt modelId="{951836F8-07C3-4487-A0F3-249EA68F7933}" type="pres">
      <dgm:prSet presAssocID="{BDFF39D8-5900-4651-9161-1BD8F3EE85B0}" presName="background" presStyleLbl="node0" presStyleIdx="0" presStyleCnt="1"/>
      <dgm:spPr/>
    </dgm:pt>
    <dgm:pt modelId="{A643926A-DC6B-45F1-A468-0A85B915AF40}" type="pres">
      <dgm:prSet presAssocID="{BDFF39D8-5900-4651-9161-1BD8F3EE85B0}" presName="text" presStyleLbl="fgAcc0" presStyleIdx="0" presStyleCnt="1" custScaleX="183800" custLinFactNeighborY="-42350">
        <dgm:presLayoutVars>
          <dgm:chPref val="3"/>
        </dgm:presLayoutVars>
      </dgm:prSet>
      <dgm:spPr/>
    </dgm:pt>
    <dgm:pt modelId="{DC2057BA-B65B-404F-B7B9-233591CF6EA6}" type="pres">
      <dgm:prSet presAssocID="{BDFF39D8-5900-4651-9161-1BD8F3EE85B0}" presName="hierChild2" presStyleCnt="0"/>
      <dgm:spPr/>
    </dgm:pt>
    <dgm:pt modelId="{8D02598F-6388-4383-85EA-13A48D1C8419}" type="pres">
      <dgm:prSet presAssocID="{08D18D55-B908-4C02-8013-34C52F415E4D}" presName="Name10" presStyleLbl="parChTrans1D2" presStyleIdx="0" presStyleCnt="2"/>
      <dgm:spPr/>
    </dgm:pt>
    <dgm:pt modelId="{F8E217B2-BA2C-4E50-AA68-3654284935BE}" type="pres">
      <dgm:prSet presAssocID="{91DCC61A-B4B4-4B36-A700-C6A035B043F4}" presName="hierRoot2" presStyleCnt="0"/>
      <dgm:spPr/>
    </dgm:pt>
    <dgm:pt modelId="{B16949F5-482B-4D13-A8E3-7ED78B8251C4}" type="pres">
      <dgm:prSet presAssocID="{91DCC61A-B4B4-4B36-A700-C6A035B043F4}" presName="composite2" presStyleCnt="0"/>
      <dgm:spPr/>
    </dgm:pt>
    <dgm:pt modelId="{1BA7BEB7-2855-4D0A-973A-6FED09F5CC67}" type="pres">
      <dgm:prSet presAssocID="{91DCC61A-B4B4-4B36-A700-C6A035B043F4}" presName="background2" presStyleLbl="node2" presStyleIdx="0" presStyleCnt="2"/>
      <dgm:spPr/>
    </dgm:pt>
    <dgm:pt modelId="{E5659EAE-03A1-4028-BC6E-C40EFDFA4D6C}" type="pres">
      <dgm:prSet presAssocID="{91DCC61A-B4B4-4B36-A700-C6A035B043F4}" presName="text2" presStyleLbl="fgAcc2" presStyleIdx="0" presStyleCnt="2" custScaleX="125625" custScaleY="118983" custLinFactNeighborY="-42350">
        <dgm:presLayoutVars>
          <dgm:chPref val="3"/>
        </dgm:presLayoutVars>
      </dgm:prSet>
      <dgm:spPr/>
    </dgm:pt>
    <dgm:pt modelId="{B4668308-6B80-42D0-B4C4-CD5591D1B08F}" type="pres">
      <dgm:prSet presAssocID="{91DCC61A-B4B4-4B36-A700-C6A035B043F4}" presName="hierChild3" presStyleCnt="0"/>
      <dgm:spPr/>
    </dgm:pt>
    <dgm:pt modelId="{F6EA1247-29A4-460B-AD96-F3DD14DE105D}" type="pres">
      <dgm:prSet presAssocID="{4534BD0F-4F8C-43EA-8A9D-988390039826}" presName="Name10" presStyleLbl="parChTrans1D2" presStyleIdx="1" presStyleCnt="2"/>
      <dgm:spPr/>
    </dgm:pt>
    <dgm:pt modelId="{515338E3-8D79-4038-860B-238D9723F7F3}" type="pres">
      <dgm:prSet presAssocID="{FC66D51F-72B7-4B4C-A693-B5B6EE79A69B}" presName="hierRoot2" presStyleCnt="0"/>
      <dgm:spPr/>
    </dgm:pt>
    <dgm:pt modelId="{B6000E42-984C-48C2-B742-9E84B7EBF6AC}" type="pres">
      <dgm:prSet presAssocID="{FC66D51F-72B7-4B4C-A693-B5B6EE79A69B}" presName="composite2" presStyleCnt="0"/>
      <dgm:spPr/>
    </dgm:pt>
    <dgm:pt modelId="{7F1E6730-E55B-43E5-BC56-5739ACB721D1}" type="pres">
      <dgm:prSet presAssocID="{FC66D51F-72B7-4B4C-A693-B5B6EE79A69B}" presName="background2" presStyleLbl="node2" presStyleIdx="1" presStyleCnt="2"/>
      <dgm:spPr/>
    </dgm:pt>
    <dgm:pt modelId="{71111CA0-1839-42C4-9B1E-F159558143C8}" type="pres">
      <dgm:prSet presAssocID="{FC66D51F-72B7-4B4C-A693-B5B6EE79A69B}" presName="text2" presStyleLbl="fgAcc2" presStyleIdx="1" presStyleCnt="2" custScaleX="125625" custScaleY="118983" custLinFactNeighborY="-42350">
        <dgm:presLayoutVars>
          <dgm:chPref val="3"/>
        </dgm:presLayoutVars>
      </dgm:prSet>
      <dgm:spPr/>
    </dgm:pt>
    <dgm:pt modelId="{3CD60CF6-75A9-47A5-BEE3-86214F564002}" type="pres">
      <dgm:prSet presAssocID="{FC66D51F-72B7-4B4C-A693-B5B6EE79A69B}" presName="hierChild3" presStyleCnt="0"/>
      <dgm:spPr/>
    </dgm:pt>
    <dgm:pt modelId="{02FC0626-3412-41DD-808A-592CCB3CF1C2}" type="pres">
      <dgm:prSet presAssocID="{5F652CCE-16ED-46E7-AF9D-89912AE8A270}" presName="Name17" presStyleLbl="parChTrans1D3" presStyleIdx="0" presStyleCnt="3"/>
      <dgm:spPr/>
    </dgm:pt>
    <dgm:pt modelId="{CC3C0498-A4B5-45C3-9655-A44338678164}" type="pres">
      <dgm:prSet presAssocID="{36FE158A-247F-4276-A429-1DBDC971A425}" presName="hierRoot3" presStyleCnt="0"/>
      <dgm:spPr/>
    </dgm:pt>
    <dgm:pt modelId="{090F044F-605A-49F5-8DE8-23971FF7219E}" type="pres">
      <dgm:prSet presAssocID="{36FE158A-247F-4276-A429-1DBDC971A425}" presName="composite3" presStyleCnt="0"/>
      <dgm:spPr/>
    </dgm:pt>
    <dgm:pt modelId="{EDE24574-53FF-4674-9D68-1AE5DFBD72BA}" type="pres">
      <dgm:prSet presAssocID="{36FE158A-247F-4276-A429-1DBDC971A425}" presName="background3" presStyleLbl="node3" presStyleIdx="0" presStyleCnt="3"/>
      <dgm:spPr/>
    </dgm:pt>
    <dgm:pt modelId="{8D8BED5E-9F4F-4770-9B1C-6C40B2CB9D88}" type="pres">
      <dgm:prSet presAssocID="{36FE158A-247F-4276-A429-1DBDC971A425}" presName="text3" presStyleLbl="fgAcc3" presStyleIdx="0" presStyleCnt="3" custScaleX="173167" custScaleY="124901">
        <dgm:presLayoutVars>
          <dgm:chPref val="3"/>
        </dgm:presLayoutVars>
      </dgm:prSet>
      <dgm:spPr/>
    </dgm:pt>
    <dgm:pt modelId="{85BF7E9A-7FE8-4AE5-8E29-ED7F5291BC67}" type="pres">
      <dgm:prSet presAssocID="{36FE158A-247F-4276-A429-1DBDC971A425}" presName="hierChild4" presStyleCnt="0"/>
      <dgm:spPr/>
    </dgm:pt>
    <dgm:pt modelId="{1C6EADE7-12CD-4702-A93A-ABFC65A9C740}" type="pres">
      <dgm:prSet presAssocID="{1DB0579D-5F15-4F8D-95F6-A61C68DA2658}" presName="Name23" presStyleLbl="parChTrans1D4" presStyleIdx="0" presStyleCnt="16"/>
      <dgm:spPr/>
    </dgm:pt>
    <dgm:pt modelId="{71556B0B-CFED-4070-8D73-FD0BB386F023}" type="pres">
      <dgm:prSet presAssocID="{198B477B-F195-4953-B1B1-1E029511A24E}" presName="hierRoot4" presStyleCnt="0"/>
      <dgm:spPr/>
    </dgm:pt>
    <dgm:pt modelId="{A0F87EF8-38B3-41BD-BE53-1C7D30119FDD}" type="pres">
      <dgm:prSet presAssocID="{198B477B-F195-4953-B1B1-1E029511A24E}" presName="composite4" presStyleCnt="0"/>
      <dgm:spPr/>
    </dgm:pt>
    <dgm:pt modelId="{4BFFAD66-6FE2-4DCD-8D11-932B5DF4848D}" type="pres">
      <dgm:prSet presAssocID="{198B477B-F195-4953-B1B1-1E029511A24E}" presName="background4" presStyleLbl="node4" presStyleIdx="0" presStyleCnt="16"/>
      <dgm:spPr/>
    </dgm:pt>
    <dgm:pt modelId="{2264EE53-F83C-452D-AE9B-D068D54A28CA}" type="pres">
      <dgm:prSet presAssocID="{198B477B-F195-4953-B1B1-1E029511A24E}" presName="text4" presStyleLbl="fgAcc4" presStyleIdx="0" presStyleCnt="16">
        <dgm:presLayoutVars>
          <dgm:chPref val="3"/>
        </dgm:presLayoutVars>
      </dgm:prSet>
      <dgm:spPr/>
    </dgm:pt>
    <dgm:pt modelId="{0CF0A787-2FA1-4127-8941-C3D7622C3308}" type="pres">
      <dgm:prSet presAssocID="{198B477B-F195-4953-B1B1-1E029511A24E}" presName="hierChild5" presStyleCnt="0"/>
      <dgm:spPr/>
    </dgm:pt>
    <dgm:pt modelId="{9831FE54-AC63-4B0E-A28F-806838C73FF1}" type="pres">
      <dgm:prSet presAssocID="{2C402769-9A26-4CFD-BF51-CFD2A552E6C8}" presName="Name23" presStyleLbl="parChTrans1D4" presStyleIdx="1" presStyleCnt="16"/>
      <dgm:spPr/>
    </dgm:pt>
    <dgm:pt modelId="{0247E75F-60B3-4D14-A1A8-DC5EDA361993}" type="pres">
      <dgm:prSet presAssocID="{D59A22C6-E898-4313-8121-BFB13BEA63F5}" presName="hierRoot4" presStyleCnt="0"/>
      <dgm:spPr/>
    </dgm:pt>
    <dgm:pt modelId="{EADDC20A-287A-437B-8636-66221EF124A6}" type="pres">
      <dgm:prSet presAssocID="{D59A22C6-E898-4313-8121-BFB13BEA63F5}" presName="composite4" presStyleCnt="0"/>
      <dgm:spPr/>
    </dgm:pt>
    <dgm:pt modelId="{962C1F71-7ADB-4579-982C-982990C9AA8B}" type="pres">
      <dgm:prSet presAssocID="{D59A22C6-E898-4313-8121-BFB13BEA63F5}" presName="background4" presStyleLbl="node4" presStyleIdx="1" presStyleCnt="16"/>
      <dgm:spPr/>
    </dgm:pt>
    <dgm:pt modelId="{A0F6F1A6-F450-4DD1-9342-8B1D6F5368D7}" type="pres">
      <dgm:prSet presAssocID="{D59A22C6-E898-4313-8121-BFB13BEA63F5}" presName="text4" presStyleLbl="fgAcc4" presStyleIdx="1" presStyleCnt="16" custScaleY="170142">
        <dgm:presLayoutVars>
          <dgm:chPref val="3"/>
        </dgm:presLayoutVars>
      </dgm:prSet>
      <dgm:spPr>
        <a:xfrm>
          <a:off x="81303" y="3132879"/>
          <a:ext cx="689822" cy="745285"/>
        </a:xfrm>
        <a:prstGeom prst="roundRect">
          <a:avLst>
            <a:gd name="adj" fmla="val 10000"/>
          </a:avLst>
        </a:prstGeom>
      </dgm:spPr>
    </dgm:pt>
    <dgm:pt modelId="{E1FCEF18-11C5-41FB-AC69-FFFCBBF39597}" type="pres">
      <dgm:prSet presAssocID="{D59A22C6-E898-4313-8121-BFB13BEA63F5}" presName="hierChild5" presStyleCnt="0"/>
      <dgm:spPr/>
    </dgm:pt>
    <dgm:pt modelId="{D8A9FB62-2E7A-4B83-8F80-583AFC90E3EA}" type="pres">
      <dgm:prSet presAssocID="{452B28C7-1E7C-4583-B288-6038DCCC7C9B}" presName="Name23" presStyleLbl="parChTrans1D4" presStyleIdx="2" presStyleCnt="16"/>
      <dgm:spPr/>
    </dgm:pt>
    <dgm:pt modelId="{D500C87F-5DF2-448B-A4EC-A606537FED8B}" type="pres">
      <dgm:prSet presAssocID="{B2F640D2-1069-4FBD-BFCE-92B02BF6B241}" presName="hierRoot4" presStyleCnt="0"/>
      <dgm:spPr/>
    </dgm:pt>
    <dgm:pt modelId="{4286D1D4-1CA7-49EB-B3AC-032B427697D4}" type="pres">
      <dgm:prSet presAssocID="{B2F640D2-1069-4FBD-BFCE-92B02BF6B241}" presName="composite4" presStyleCnt="0"/>
      <dgm:spPr/>
    </dgm:pt>
    <dgm:pt modelId="{F8EA9BB4-5A69-4683-B59E-D598B00C85EE}" type="pres">
      <dgm:prSet presAssocID="{B2F640D2-1069-4FBD-BFCE-92B02BF6B241}" presName="background4" presStyleLbl="node4" presStyleIdx="2" presStyleCnt="16"/>
      <dgm:spPr/>
    </dgm:pt>
    <dgm:pt modelId="{B11969A5-7942-4AFB-B72C-827C406EFCAE}" type="pres">
      <dgm:prSet presAssocID="{B2F640D2-1069-4FBD-BFCE-92B02BF6B241}" presName="text4" presStyleLbl="fgAcc4" presStyleIdx="2" presStyleCnt="16">
        <dgm:presLayoutVars>
          <dgm:chPref val="3"/>
        </dgm:presLayoutVars>
      </dgm:prSet>
      <dgm:spPr/>
    </dgm:pt>
    <dgm:pt modelId="{47C5626D-179F-4BE8-9FF3-5C8FC2421DF9}" type="pres">
      <dgm:prSet presAssocID="{B2F640D2-1069-4FBD-BFCE-92B02BF6B241}" presName="hierChild5" presStyleCnt="0"/>
      <dgm:spPr/>
    </dgm:pt>
    <dgm:pt modelId="{D2A377F1-AC10-433E-A9EC-1A2018A0D67C}" type="pres">
      <dgm:prSet presAssocID="{7E946560-0408-472D-95F2-546DA8641F12}" presName="Name23" presStyleLbl="parChTrans1D4" presStyleIdx="3" presStyleCnt="16"/>
      <dgm:spPr/>
    </dgm:pt>
    <dgm:pt modelId="{FE8578D1-CA93-48A8-8EA0-305C18500217}" type="pres">
      <dgm:prSet presAssocID="{CF90411C-9D17-4F45-B488-5EFCBAF4C9E7}" presName="hierRoot4" presStyleCnt="0"/>
      <dgm:spPr/>
    </dgm:pt>
    <dgm:pt modelId="{974C2CEC-3286-4AE4-87E7-F71120714802}" type="pres">
      <dgm:prSet presAssocID="{CF90411C-9D17-4F45-B488-5EFCBAF4C9E7}" presName="composite4" presStyleCnt="0"/>
      <dgm:spPr/>
    </dgm:pt>
    <dgm:pt modelId="{2515AC9E-84EE-4A1B-AACA-DC98E41CC035}" type="pres">
      <dgm:prSet presAssocID="{CF90411C-9D17-4F45-B488-5EFCBAF4C9E7}" presName="background4" presStyleLbl="node4" presStyleIdx="3" presStyleCnt="16"/>
      <dgm:spPr/>
    </dgm:pt>
    <dgm:pt modelId="{A84BB628-369C-4F54-A3D1-78988904C7C8}" type="pres">
      <dgm:prSet presAssocID="{CF90411C-9D17-4F45-B488-5EFCBAF4C9E7}" presName="text4" presStyleLbl="fgAcc4" presStyleIdx="3" presStyleCnt="16" custScaleY="170142">
        <dgm:presLayoutVars>
          <dgm:chPref val="3"/>
        </dgm:presLayoutVars>
      </dgm:prSet>
      <dgm:spPr/>
    </dgm:pt>
    <dgm:pt modelId="{5BC27371-4761-4E4B-AB95-F151F0E5DB4D}" type="pres">
      <dgm:prSet presAssocID="{CF90411C-9D17-4F45-B488-5EFCBAF4C9E7}" presName="hierChild5" presStyleCnt="0"/>
      <dgm:spPr/>
    </dgm:pt>
    <dgm:pt modelId="{BDE1C23F-FBDD-40E4-A84B-C95B9A8B2BC1}" type="pres">
      <dgm:prSet presAssocID="{DB484D28-504A-41D8-B238-1F6DF21F2CAC}" presName="Name17" presStyleLbl="parChTrans1D3" presStyleIdx="1" presStyleCnt="3"/>
      <dgm:spPr/>
    </dgm:pt>
    <dgm:pt modelId="{5F9D3CA8-8F17-42EE-8D93-1A1AAFD5E046}" type="pres">
      <dgm:prSet presAssocID="{82BB9DE6-B588-4262-9FA7-7729C05F4C37}" presName="hierRoot3" presStyleCnt="0"/>
      <dgm:spPr/>
    </dgm:pt>
    <dgm:pt modelId="{303705A9-15E9-46EE-85CA-51431CBBFDBA}" type="pres">
      <dgm:prSet presAssocID="{82BB9DE6-B588-4262-9FA7-7729C05F4C37}" presName="composite3" presStyleCnt="0"/>
      <dgm:spPr/>
    </dgm:pt>
    <dgm:pt modelId="{7CFBAACD-2DF8-4592-83BC-37B3A6779C6B}" type="pres">
      <dgm:prSet presAssocID="{82BB9DE6-B588-4262-9FA7-7729C05F4C37}" presName="background3" presStyleLbl="node3" presStyleIdx="1" presStyleCnt="3"/>
      <dgm:spPr/>
    </dgm:pt>
    <dgm:pt modelId="{56024679-05C2-49E2-AEB5-62DA7A0F1396}" type="pres">
      <dgm:prSet presAssocID="{82BB9DE6-B588-4262-9FA7-7729C05F4C37}" presName="text3" presStyleLbl="fgAcc3" presStyleIdx="1" presStyleCnt="3" custScaleX="173167" custScaleY="124901">
        <dgm:presLayoutVars>
          <dgm:chPref val="3"/>
        </dgm:presLayoutVars>
      </dgm:prSet>
      <dgm:spPr/>
    </dgm:pt>
    <dgm:pt modelId="{6F6A1063-6B2B-4E40-B43B-93A8328CFDFD}" type="pres">
      <dgm:prSet presAssocID="{82BB9DE6-B588-4262-9FA7-7729C05F4C37}" presName="hierChild4" presStyleCnt="0"/>
      <dgm:spPr/>
    </dgm:pt>
    <dgm:pt modelId="{BCD01945-D00B-4B52-9952-B1CCB70443E3}" type="pres">
      <dgm:prSet presAssocID="{269C5185-3247-4439-9D85-03AE70643AC4}" presName="Name23" presStyleLbl="parChTrans1D4" presStyleIdx="4" presStyleCnt="16"/>
      <dgm:spPr/>
    </dgm:pt>
    <dgm:pt modelId="{7BD5C6F2-00C0-4CA6-81FA-7E61EBEAD1B2}" type="pres">
      <dgm:prSet presAssocID="{6FC0FBD5-D459-4683-92A0-5B6AFD13C2D1}" presName="hierRoot4" presStyleCnt="0"/>
      <dgm:spPr/>
    </dgm:pt>
    <dgm:pt modelId="{410032D0-F1A3-4D22-ABA3-897D9904E6B5}" type="pres">
      <dgm:prSet presAssocID="{6FC0FBD5-D459-4683-92A0-5B6AFD13C2D1}" presName="composite4" presStyleCnt="0"/>
      <dgm:spPr/>
    </dgm:pt>
    <dgm:pt modelId="{FAE41D07-B2AA-4B5B-86F0-4B0018EC1F8C}" type="pres">
      <dgm:prSet presAssocID="{6FC0FBD5-D459-4683-92A0-5B6AFD13C2D1}" presName="background4" presStyleLbl="node4" presStyleIdx="4" presStyleCnt="16"/>
      <dgm:spPr/>
    </dgm:pt>
    <dgm:pt modelId="{D8E3228A-7D88-47C7-A304-2767F1DD1E6B}" type="pres">
      <dgm:prSet presAssocID="{6FC0FBD5-D459-4683-92A0-5B6AFD13C2D1}" presName="text4" presStyleLbl="fgAcc4" presStyleIdx="4" presStyleCnt="16">
        <dgm:presLayoutVars>
          <dgm:chPref val="3"/>
        </dgm:presLayoutVars>
      </dgm:prSet>
      <dgm:spPr/>
    </dgm:pt>
    <dgm:pt modelId="{539648AA-DA71-4D6F-B48B-C7608B9EA4A1}" type="pres">
      <dgm:prSet presAssocID="{6FC0FBD5-D459-4683-92A0-5B6AFD13C2D1}" presName="hierChild5" presStyleCnt="0"/>
      <dgm:spPr/>
    </dgm:pt>
    <dgm:pt modelId="{0BF9C368-6ACA-4449-BE60-20C0A04F7A1B}" type="pres">
      <dgm:prSet presAssocID="{614DBEBE-0B13-43C9-907F-68C94C8DBF5E}" presName="Name23" presStyleLbl="parChTrans1D4" presStyleIdx="5" presStyleCnt="16"/>
      <dgm:spPr/>
    </dgm:pt>
    <dgm:pt modelId="{BBC5757F-7349-4A53-9FBF-3DF0CB487630}" type="pres">
      <dgm:prSet presAssocID="{245CD2B3-C147-4DBE-9104-382E80D28D32}" presName="hierRoot4" presStyleCnt="0"/>
      <dgm:spPr/>
    </dgm:pt>
    <dgm:pt modelId="{2E0AFB73-44CE-4FCC-8CBA-293630483964}" type="pres">
      <dgm:prSet presAssocID="{245CD2B3-C147-4DBE-9104-382E80D28D32}" presName="composite4" presStyleCnt="0"/>
      <dgm:spPr/>
    </dgm:pt>
    <dgm:pt modelId="{073C6800-5860-4F52-8CE7-8A2A9FCDA8EB}" type="pres">
      <dgm:prSet presAssocID="{245CD2B3-C147-4DBE-9104-382E80D28D32}" presName="background4" presStyleLbl="node4" presStyleIdx="5" presStyleCnt="16"/>
      <dgm:spPr/>
    </dgm:pt>
    <dgm:pt modelId="{DE44BC37-03A9-41E1-89C6-06EFFDA2F5DF}" type="pres">
      <dgm:prSet presAssocID="{245CD2B3-C147-4DBE-9104-382E80D28D32}" presName="text4" presStyleLbl="fgAcc4" presStyleIdx="5" presStyleCnt="16" custScaleY="170142">
        <dgm:presLayoutVars>
          <dgm:chPref val="3"/>
        </dgm:presLayoutVars>
      </dgm:prSet>
      <dgm:spPr/>
    </dgm:pt>
    <dgm:pt modelId="{C983550D-EA2C-4096-9E9E-56190A1FC1CA}" type="pres">
      <dgm:prSet presAssocID="{245CD2B3-C147-4DBE-9104-382E80D28D32}" presName="hierChild5" presStyleCnt="0"/>
      <dgm:spPr/>
    </dgm:pt>
    <dgm:pt modelId="{9CADACF9-2E89-4BCA-A7F1-C1D27B2F5EC4}" type="pres">
      <dgm:prSet presAssocID="{016A27C9-6FAF-4EE1-8887-ACB99BA2F3A4}" presName="Name23" presStyleLbl="parChTrans1D4" presStyleIdx="6" presStyleCnt="16"/>
      <dgm:spPr/>
    </dgm:pt>
    <dgm:pt modelId="{24A074B8-1C54-43A6-88CD-E2A6D900343E}" type="pres">
      <dgm:prSet presAssocID="{4E8C3D90-990F-4A3F-B3B3-05F35D149A5B}" presName="hierRoot4" presStyleCnt="0"/>
      <dgm:spPr/>
    </dgm:pt>
    <dgm:pt modelId="{FC36084C-87FD-47DD-BB33-98AF77C00BA1}" type="pres">
      <dgm:prSet presAssocID="{4E8C3D90-990F-4A3F-B3B3-05F35D149A5B}" presName="composite4" presStyleCnt="0"/>
      <dgm:spPr/>
    </dgm:pt>
    <dgm:pt modelId="{6847DF74-BFC8-46B3-AE8A-133D2E0494FE}" type="pres">
      <dgm:prSet presAssocID="{4E8C3D90-990F-4A3F-B3B3-05F35D149A5B}" presName="background4" presStyleLbl="node4" presStyleIdx="6" presStyleCnt="16"/>
      <dgm:spPr/>
    </dgm:pt>
    <dgm:pt modelId="{00F36977-D773-40B0-904B-91D19C8C5A58}" type="pres">
      <dgm:prSet presAssocID="{4E8C3D90-990F-4A3F-B3B3-05F35D149A5B}" presName="text4" presStyleLbl="fgAcc4" presStyleIdx="6" presStyleCnt="16" custScaleY="170142">
        <dgm:presLayoutVars>
          <dgm:chPref val="3"/>
        </dgm:presLayoutVars>
      </dgm:prSet>
      <dgm:spPr/>
    </dgm:pt>
    <dgm:pt modelId="{9F77A32E-D445-4C50-9999-2A98164EC996}" type="pres">
      <dgm:prSet presAssocID="{4E8C3D90-990F-4A3F-B3B3-05F35D149A5B}" presName="hierChild5" presStyleCnt="0"/>
      <dgm:spPr/>
    </dgm:pt>
    <dgm:pt modelId="{1A181795-ADCA-42DD-ABF0-7F8AA5A84960}" type="pres">
      <dgm:prSet presAssocID="{3575CD14-F0EC-4B6B-9114-BC57F0AC764E}" presName="Name17" presStyleLbl="parChTrans1D3" presStyleIdx="2" presStyleCnt="3"/>
      <dgm:spPr/>
    </dgm:pt>
    <dgm:pt modelId="{12AE52A7-7FE5-4F9B-8E74-1AC42AD4E320}" type="pres">
      <dgm:prSet presAssocID="{4FB885E2-C051-4A96-A7DD-C019D02EF671}" presName="hierRoot3" presStyleCnt="0"/>
      <dgm:spPr/>
    </dgm:pt>
    <dgm:pt modelId="{42945955-04AA-4E0A-BB00-95F229386337}" type="pres">
      <dgm:prSet presAssocID="{4FB885E2-C051-4A96-A7DD-C019D02EF671}" presName="composite3" presStyleCnt="0"/>
      <dgm:spPr/>
    </dgm:pt>
    <dgm:pt modelId="{D28C6C8A-6D0A-4EF0-8F15-15648F0C2034}" type="pres">
      <dgm:prSet presAssocID="{4FB885E2-C051-4A96-A7DD-C019D02EF671}" presName="background3" presStyleLbl="node3" presStyleIdx="2" presStyleCnt="3"/>
      <dgm:spPr/>
    </dgm:pt>
    <dgm:pt modelId="{0B69D292-290B-4BB9-83A0-750B81B1F54A}" type="pres">
      <dgm:prSet presAssocID="{4FB885E2-C051-4A96-A7DD-C019D02EF671}" presName="text3" presStyleLbl="fgAcc3" presStyleIdx="2" presStyleCnt="3" custScaleX="173167" custScaleY="124901">
        <dgm:presLayoutVars>
          <dgm:chPref val="3"/>
        </dgm:presLayoutVars>
      </dgm:prSet>
      <dgm:spPr/>
    </dgm:pt>
    <dgm:pt modelId="{C57386A3-DF6D-499B-8587-AAC14F471D7D}" type="pres">
      <dgm:prSet presAssocID="{4FB885E2-C051-4A96-A7DD-C019D02EF671}" presName="hierChild4" presStyleCnt="0"/>
      <dgm:spPr/>
    </dgm:pt>
    <dgm:pt modelId="{D35D66CC-E7AB-464C-85B4-9A3E3A9D8CAA}" type="pres">
      <dgm:prSet presAssocID="{5173C3A0-56D4-4307-98E3-1ECC1EE5AA51}" presName="Name23" presStyleLbl="parChTrans1D4" presStyleIdx="7" presStyleCnt="16"/>
      <dgm:spPr/>
    </dgm:pt>
    <dgm:pt modelId="{92FF470A-E6E8-4B83-A9C4-6DFAFADAF127}" type="pres">
      <dgm:prSet presAssocID="{54EC4DFA-2AAC-4CDF-89EE-D40679A92F44}" presName="hierRoot4" presStyleCnt="0"/>
      <dgm:spPr/>
    </dgm:pt>
    <dgm:pt modelId="{AFCAC717-1CF8-4248-BB79-020AFB1D4DAC}" type="pres">
      <dgm:prSet presAssocID="{54EC4DFA-2AAC-4CDF-89EE-D40679A92F44}" presName="composite4" presStyleCnt="0"/>
      <dgm:spPr/>
    </dgm:pt>
    <dgm:pt modelId="{837348BD-0F40-40F2-BFA8-1ED6AE169A90}" type="pres">
      <dgm:prSet presAssocID="{54EC4DFA-2AAC-4CDF-89EE-D40679A92F44}" presName="background4" presStyleLbl="node4" presStyleIdx="7" presStyleCnt="16"/>
      <dgm:spPr/>
    </dgm:pt>
    <dgm:pt modelId="{01008639-CECD-4E1E-8F92-7DE8230426CC}" type="pres">
      <dgm:prSet presAssocID="{54EC4DFA-2AAC-4CDF-89EE-D40679A92F44}" presName="text4" presStyleLbl="fgAcc4" presStyleIdx="7" presStyleCnt="16">
        <dgm:presLayoutVars>
          <dgm:chPref val="3"/>
        </dgm:presLayoutVars>
      </dgm:prSet>
      <dgm:spPr/>
    </dgm:pt>
    <dgm:pt modelId="{D55FBDED-0386-40E4-822B-3D6728725228}" type="pres">
      <dgm:prSet presAssocID="{54EC4DFA-2AAC-4CDF-89EE-D40679A92F44}" presName="hierChild5" presStyleCnt="0"/>
      <dgm:spPr/>
    </dgm:pt>
    <dgm:pt modelId="{52ADEC28-9DC1-406A-ADCC-54C15FA3270F}" type="pres">
      <dgm:prSet presAssocID="{EF7F9F21-2189-4D13-B310-9148A3689279}" presName="Name23" presStyleLbl="parChTrans1D4" presStyleIdx="8" presStyleCnt="16"/>
      <dgm:spPr/>
    </dgm:pt>
    <dgm:pt modelId="{1CE0C961-2FB2-4C73-94EC-BD0AB3D35036}" type="pres">
      <dgm:prSet presAssocID="{45748E57-5937-48B4-940C-07B7E048FF83}" presName="hierRoot4" presStyleCnt="0"/>
      <dgm:spPr/>
    </dgm:pt>
    <dgm:pt modelId="{A85BF091-DCF0-4656-8787-04C6E7E2E9EF}" type="pres">
      <dgm:prSet presAssocID="{45748E57-5937-48B4-940C-07B7E048FF83}" presName="composite4" presStyleCnt="0"/>
      <dgm:spPr/>
    </dgm:pt>
    <dgm:pt modelId="{5EB18CA7-E549-46DC-BCCF-DC1792D5F3F9}" type="pres">
      <dgm:prSet presAssocID="{45748E57-5937-48B4-940C-07B7E048FF83}" presName="background4" presStyleLbl="node4" presStyleIdx="8" presStyleCnt="16"/>
      <dgm:spPr/>
    </dgm:pt>
    <dgm:pt modelId="{AC8127F1-79C9-4D56-B1AC-41DCCE4448E6}" type="pres">
      <dgm:prSet presAssocID="{45748E57-5937-48B4-940C-07B7E048FF83}" presName="text4" presStyleLbl="fgAcc4" presStyleIdx="8" presStyleCnt="16" custScaleY="170142">
        <dgm:presLayoutVars>
          <dgm:chPref val="3"/>
        </dgm:presLayoutVars>
      </dgm:prSet>
      <dgm:spPr/>
    </dgm:pt>
    <dgm:pt modelId="{0D253EC7-B22F-4AC5-AD10-13945F079553}" type="pres">
      <dgm:prSet presAssocID="{45748E57-5937-48B4-940C-07B7E048FF83}" presName="hierChild5" presStyleCnt="0"/>
      <dgm:spPr/>
    </dgm:pt>
    <dgm:pt modelId="{846A4C5B-1F6D-466E-97A1-A6138648F1A1}" type="pres">
      <dgm:prSet presAssocID="{6FEABF38-9874-45FE-A7BF-85F55F6DD634}" presName="Name23" presStyleLbl="parChTrans1D4" presStyleIdx="9" presStyleCnt="16"/>
      <dgm:spPr/>
    </dgm:pt>
    <dgm:pt modelId="{9C718621-9B8A-457A-914A-309CB8F249CE}" type="pres">
      <dgm:prSet presAssocID="{D7D5D9D6-B95C-4E22-8BC2-54316265C412}" presName="hierRoot4" presStyleCnt="0"/>
      <dgm:spPr/>
    </dgm:pt>
    <dgm:pt modelId="{6EC25D1C-2C58-4069-9262-BC19BB3C2C93}" type="pres">
      <dgm:prSet presAssocID="{D7D5D9D6-B95C-4E22-8BC2-54316265C412}" presName="composite4" presStyleCnt="0"/>
      <dgm:spPr/>
    </dgm:pt>
    <dgm:pt modelId="{15B54891-22B0-4C97-91DA-846B1A6C1EE4}" type="pres">
      <dgm:prSet presAssocID="{D7D5D9D6-B95C-4E22-8BC2-54316265C412}" presName="background4" presStyleLbl="node4" presStyleIdx="9" presStyleCnt="16"/>
      <dgm:spPr/>
    </dgm:pt>
    <dgm:pt modelId="{BF0EC4D3-041B-489B-8761-CA62F9131472}" type="pres">
      <dgm:prSet presAssocID="{D7D5D9D6-B95C-4E22-8BC2-54316265C412}" presName="text4" presStyleLbl="fgAcc4" presStyleIdx="9" presStyleCnt="16">
        <dgm:presLayoutVars>
          <dgm:chPref val="3"/>
        </dgm:presLayoutVars>
      </dgm:prSet>
      <dgm:spPr>
        <a:xfrm>
          <a:off x="8833887" y="2677490"/>
          <a:ext cx="840681" cy="533832"/>
        </a:xfrm>
        <a:prstGeom prst="roundRect">
          <a:avLst>
            <a:gd name="adj" fmla="val 10000"/>
          </a:avLst>
        </a:prstGeom>
      </dgm:spPr>
    </dgm:pt>
    <dgm:pt modelId="{3F103EC5-316A-4EB3-8B19-C82020170A8E}" type="pres">
      <dgm:prSet presAssocID="{D7D5D9D6-B95C-4E22-8BC2-54316265C412}" presName="hierChild5" presStyleCnt="0"/>
      <dgm:spPr/>
    </dgm:pt>
    <dgm:pt modelId="{A6615DA2-6AC0-48E6-9BD9-32833D7FF988}" type="pres">
      <dgm:prSet presAssocID="{C9282E00-C7E0-491D-9E0B-263C3D8091E7}" presName="Name23" presStyleLbl="parChTrans1D4" presStyleIdx="10" presStyleCnt="16"/>
      <dgm:spPr/>
    </dgm:pt>
    <dgm:pt modelId="{84C23158-5A61-423E-B5F4-FC6F68DC18B1}" type="pres">
      <dgm:prSet presAssocID="{21E09445-E024-41DC-800F-8E6C1C71BA99}" presName="hierRoot4" presStyleCnt="0"/>
      <dgm:spPr/>
    </dgm:pt>
    <dgm:pt modelId="{7DDDF47B-FF91-4FE1-B78B-0DC8A6968479}" type="pres">
      <dgm:prSet presAssocID="{21E09445-E024-41DC-800F-8E6C1C71BA99}" presName="composite4" presStyleCnt="0"/>
      <dgm:spPr/>
    </dgm:pt>
    <dgm:pt modelId="{3B2EE3EC-F005-4956-934E-AB4F4B8C1653}" type="pres">
      <dgm:prSet presAssocID="{21E09445-E024-41DC-800F-8E6C1C71BA99}" presName="background4" presStyleLbl="node4" presStyleIdx="10" presStyleCnt="16"/>
      <dgm:spPr/>
    </dgm:pt>
    <dgm:pt modelId="{4D450AF0-35B7-485D-BE99-6316DA2D58FF}" type="pres">
      <dgm:prSet presAssocID="{21E09445-E024-41DC-800F-8E6C1C71BA99}" presName="text4" presStyleLbl="fgAcc4" presStyleIdx="10" presStyleCnt="16" custScaleY="166878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F577F5B6-843A-4D7B-8776-F84C794AE3CD}" type="pres">
      <dgm:prSet presAssocID="{21E09445-E024-41DC-800F-8E6C1C71BA99}" presName="hierChild5" presStyleCnt="0"/>
      <dgm:spPr/>
    </dgm:pt>
    <dgm:pt modelId="{368544B2-5E94-46EC-809A-0CA1952FA107}" type="pres">
      <dgm:prSet presAssocID="{CC3AAE7F-CAD3-4F56-A2B2-59E346107F08}" presName="Name23" presStyleLbl="parChTrans1D4" presStyleIdx="11" presStyleCnt="16"/>
      <dgm:spPr/>
    </dgm:pt>
    <dgm:pt modelId="{F609B69E-7968-4518-9751-F17A09D87A51}" type="pres">
      <dgm:prSet presAssocID="{1E93BC21-1EF3-4282-A1C3-24CD0CBAC899}" presName="hierRoot4" presStyleCnt="0"/>
      <dgm:spPr/>
    </dgm:pt>
    <dgm:pt modelId="{CB3140BF-E718-48A9-B40E-6637DFAFF57B}" type="pres">
      <dgm:prSet presAssocID="{1E93BC21-1EF3-4282-A1C3-24CD0CBAC899}" presName="composite4" presStyleCnt="0"/>
      <dgm:spPr/>
    </dgm:pt>
    <dgm:pt modelId="{BD2BA51E-BD07-4BD0-B9C1-FC58463D6850}" type="pres">
      <dgm:prSet presAssocID="{1E93BC21-1EF3-4282-A1C3-24CD0CBAC899}" presName="background4" presStyleLbl="node4" presStyleIdx="11" presStyleCnt="16"/>
      <dgm:spPr/>
    </dgm:pt>
    <dgm:pt modelId="{029C09EB-C27C-407A-BCCA-345358EAFC67}" type="pres">
      <dgm:prSet presAssocID="{1E93BC21-1EF3-4282-A1C3-24CD0CBAC899}" presName="text4" presStyleLbl="fgAcc4" presStyleIdx="11" presStyleCnt="16" custScaleY="166878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06A63128-2C44-42BE-A24D-07F3AD5F16CA}" type="pres">
      <dgm:prSet presAssocID="{1E93BC21-1EF3-4282-A1C3-24CD0CBAC899}" presName="hierChild5" presStyleCnt="0"/>
      <dgm:spPr/>
    </dgm:pt>
    <dgm:pt modelId="{316EB960-EFD8-434F-B892-6701E0F592C3}" type="pres">
      <dgm:prSet presAssocID="{DBD19B85-BB5E-44EE-ADAC-797423E3C527}" presName="Name23" presStyleLbl="parChTrans1D4" presStyleIdx="12" presStyleCnt="16"/>
      <dgm:spPr/>
    </dgm:pt>
    <dgm:pt modelId="{A6FDF81B-010D-482D-9ABC-D2A4727EE6ED}" type="pres">
      <dgm:prSet presAssocID="{B2F45F0E-4227-4D73-B112-920DB5682615}" presName="hierRoot4" presStyleCnt="0"/>
      <dgm:spPr/>
    </dgm:pt>
    <dgm:pt modelId="{0A6D62C4-8801-4AEF-95DB-9C56744547DB}" type="pres">
      <dgm:prSet presAssocID="{B2F45F0E-4227-4D73-B112-920DB5682615}" presName="composite4" presStyleCnt="0"/>
      <dgm:spPr/>
    </dgm:pt>
    <dgm:pt modelId="{C7CDADC9-A852-433E-8D3C-5D75699B9AA8}" type="pres">
      <dgm:prSet presAssocID="{B2F45F0E-4227-4D73-B112-920DB5682615}" presName="background4" presStyleLbl="node4" presStyleIdx="12" presStyleCnt="16"/>
      <dgm:spPr/>
    </dgm:pt>
    <dgm:pt modelId="{8C5EF4B9-135C-4015-A23F-523FC199E7C5}" type="pres">
      <dgm:prSet presAssocID="{B2F45F0E-4227-4D73-B112-920DB5682615}" presName="text4" presStyleLbl="fgAcc4" presStyleIdx="12" presStyleCnt="16" custScaleY="166878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4C6DC486-FB48-49A7-94E4-DD09765AEB10}" type="pres">
      <dgm:prSet presAssocID="{B2F45F0E-4227-4D73-B112-920DB5682615}" presName="hierChild5" presStyleCnt="0"/>
      <dgm:spPr/>
    </dgm:pt>
    <dgm:pt modelId="{BC54D4F6-097C-4A06-B5F0-142E73D12017}" type="pres">
      <dgm:prSet presAssocID="{6145046C-1FA4-4B6B-AC64-1D893E9145EF}" presName="Name23" presStyleLbl="parChTrans1D4" presStyleIdx="13" presStyleCnt="16"/>
      <dgm:spPr/>
    </dgm:pt>
    <dgm:pt modelId="{AB554DD4-B9B7-468C-9516-A4718B662C5C}" type="pres">
      <dgm:prSet presAssocID="{C7F43309-0E32-485D-85FC-56C111F547CF}" presName="hierRoot4" presStyleCnt="0"/>
      <dgm:spPr/>
    </dgm:pt>
    <dgm:pt modelId="{5E2F2D18-1300-4568-8058-ABDAF0449C37}" type="pres">
      <dgm:prSet presAssocID="{C7F43309-0E32-485D-85FC-56C111F547CF}" presName="composite4" presStyleCnt="0"/>
      <dgm:spPr/>
    </dgm:pt>
    <dgm:pt modelId="{B1DFCC04-6A61-4925-B1AC-606AE3F9282A}" type="pres">
      <dgm:prSet presAssocID="{C7F43309-0E32-485D-85FC-56C111F547CF}" presName="background4" presStyleLbl="node4" presStyleIdx="13" presStyleCnt="16"/>
      <dgm:spPr/>
    </dgm:pt>
    <dgm:pt modelId="{A18B5026-E9D4-4A3E-8C41-462C71296E3E}" type="pres">
      <dgm:prSet presAssocID="{C7F43309-0E32-485D-85FC-56C111F547CF}" presName="text4" presStyleLbl="fgAcc4" presStyleIdx="13" presStyleCnt="16">
        <dgm:presLayoutVars>
          <dgm:chPref val="3"/>
        </dgm:presLayoutVars>
      </dgm:prSet>
      <dgm:spPr/>
    </dgm:pt>
    <dgm:pt modelId="{135E75C0-890C-4444-8520-1207E73CC411}" type="pres">
      <dgm:prSet presAssocID="{C7F43309-0E32-485D-85FC-56C111F547CF}" presName="hierChild5" presStyleCnt="0"/>
      <dgm:spPr/>
    </dgm:pt>
    <dgm:pt modelId="{4327A1E2-C6FE-441F-A0B3-0B47A134C99D}" type="pres">
      <dgm:prSet presAssocID="{5F8A6A9C-003B-4A47-8916-11E2B639F1D9}" presName="Name23" presStyleLbl="parChTrans1D4" presStyleIdx="14" presStyleCnt="16"/>
      <dgm:spPr/>
    </dgm:pt>
    <dgm:pt modelId="{65D55709-EC49-4FAC-94D3-93EA69145E3A}" type="pres">
      <dgm:prSet presAssocID="{6D213909-EC90-4C28-A117-365A6E7EBEE2}" presName="hierRoot4" presStyleCnt="0"/>
      <dgm:spPr/>
    </dgm:pt>
    <dgm:pt modelId="{3F32D3D4-7A5A-4E2A-9529-F62F3FCF6018}" type="pres">
      <dgm:prSet presAssocID="{6D213909-EC90-4C28-A117-365A6E7EBEE2}" presName="composite4" presStyleCnt="0"/>
      <dgm:spPr/>
    </dgm:pt>
    <dgm:pt modelId="{E39527C6-2C95-42B0-BCE8-A091A5721C1B}" type="pres">
      <dgm:prSet presAssocID="{6D213909-EC90-4C28-A117-365A6E7EBEE2}" presName="background4" presStyleLbl="node4" presStyleIdx="14" presStyleCnt="16"/>
      <dgm:spPr/>
    </dgm:pt>
    <dgm:pt modelId="{E932FEFC-F4EB-42F4-AB42-2C12C3E5218E}" type="pres">
      <dgm:prSet presAssocID="{6D213909-EC90-4C28-A117-365A6E7EBEE2}" presName="text4" presStyleLbl="fgAcc4" presStyleIdx="14" presStyleCnt="16" custScaleY="170142">
        <dgm:presLayoutVars>
          <dgm:chPref val="3"/>
        </dgm:presLayoutVars>
      </dgm:prSet>
      <dgm:spPr/>
    </dgm:pt>
    <dgm:pt modelId="{1ED15766-E587-4C93-8B5B-931FA04F3355}" type="pres">
      <dgm:prSet presAssocID="{6D213909-EC90-4C28-A117-365A6E7EBEE2}" presName="hierChild5" presStyleCnt="0"/>
      <dgm:spPr/>
    </dgm:pt>
    <dgm:pt modelId="{4762190B-6DD4-4C83-9C7D-091318B608B9}" type="pres">
      <dgm:prSet presAssocID="{BDC58E1E-8937-4E77-904A-7692219472B6}" presName="Name23" presStyleLbl="parChTrans1D4" presStyleIdx="15" presStyleCnt="16"/>
      <dgm:spPr/>
    </dgm:pt>
    <dgm:pt modelId="{CBE5C991-D2CD-4375-B652-11FB06307586}" type="pres">
      <dgm:prSet presAssocID="{14C0DBA2-D6AB-4BA5-B984-753FF8D0B5A8}" presName="hierRoot4" presStyleCnt="0"/>
      <dgm:spPr/>
    </dgm:pt>
    <dgm:pt modelId="{81D167F2-53BC-4B8F-96B3-2150FA1923B0}" type="pres">
      <dgm:prSet presAssocID="{14C0DBA2-D6AB-4BA5-B984-753FF8D0B5A8}" presName="composite4" presStyleCnt="0"/>
      <dgm:spPr/>
    </dgm:pt>
    <dgm:pt modelId="{E8136ABB-346C-4574-87EC-8D86DE6C6D46}" type="pres">
      <dgm:prSet presAssocID="{14C0DBA2-D6AB-4BA5-B984-753FF8D0B5A8}" presName="background4" presStyleLbl="node4" presStyleIdx="15" presStyleCnt="16"/>
      <dgm:spPr/>
    </dgm:pt>
    <dgm:pt modelId="{BF9A23FF-3222-4DC3-A8F6-87E55DD7D34E}" type="pres">
      <dgm:prSet presAssocID="{14C0DBA2-D6AB-4BA5-B984-753FF8D0B5A8}" presName="text4" presStyleLbl="fgAcc4" presStyleIdx="15" presStyleCnt="16">
        <dgm:presLayoutVars>
          <dgm:chPref val="3"/>
        </dgm:presLayoutVars>
      </dgm:prSet>
      <dgm:spPr/>
    </dgm:pt>
    <dgm:pt modelId="{E173FA47-513C-4DC8-BBDA-04A884BC9EEA}" type="pres">
      <dgm:prSet presAssocID="{14C0DBA2-D6AB-4BA5-B984-753FF8D0B5A8}" presName="hierChild5" presStyleCnt="0"/>
      <dgm:spPr/>
    </dgm:pt>
  </dgm:ptLst>
  <dgm:cxnLst>
    <dgm:cxn modelId="{1FA06200-69B6-4098-8F62-22EE2F07A03A}" type="presOf" srcId="{269C5185-3247-4439-9D85-03AE70643AC4}" destId="{BCD01945-D00B-4B52-9952-B1CCB70443E3}" srcOrd="0" destOrd="0" presId="urn:microsoft.com/office/officeart/2005/8/layout/hierarchy1"/>
    <dgm:cxn modelId="{30996502-5B36-4D72-85CC-4ACB78ECBE6A}" srcId="{4FB885E2-C051-4A96-A7DD-C019D02EF671}" destId="{14C0DBA2-D6AB-4BA5-B984-753FF8D0B5A8}" srcOrd="3" destOrd="0" parTransId="{BDC58E1E-8937-4E77-904A-7692219472B6}" sibTransId="{0C026F3A-8610-4EF5-8C03-949FA9E43D7E}"/>
    <dgm:cxn modelId="{D427B003-0AD9-4178-8CD4-1839BAB0735F}" srcId="{198B477B-F195-4953-B1B1-1E029511A24E}" destId="{D59A22C6-E898-4313-8121-BFB13BEA63F5}" srcOrd="0" destOrd="0" parTransId="{2C402769-9A26-4CFD-BF51-CFD2A552E6C8}" sibTransId="{8C809974-FD69-43AB-90AF-21C3571A0087}"/>
    <dgm:cxn modelId="{C2D14B04-6AB0-48EE-9377-9DFB7E6A9ED0}" srcId="{54EC4DFA-2AAC-4CDF-89EE-D40679A92F44}" destId="{45748E57-5937-48B4-940C-07B7E048FF83}" srcOrd="0" destOrd="0" parTransId="{EF7F9F21-2189-4D13-B310-9148A3689279}" sibTransId="{B072FCF5-4F74-47FE-8BFE-E813975F3A9A}"/>
    <dgm:cxn modelId="{BEF19704-14CD-4A84-BE71-EA809DFAE9BC}" srcId="{FC66D51F-72B7-4B4C-A693-B5B6EE79A69B}" destId="{36FE158A-247F-4276-A429-1DBDC971A425}" srcOrd="0" destOrd="0" parTransId="{5F652CCE-16ED-46E7-AF9D-89912AE8A270}" sibTransId="{CF15E53E-0387-45BB-825D-055CB3FEB18E}"/>
    <dgm:cxn modelId="{E2481E14-EC50-4F07-A9C3-A075DA29B470}" srcId="{BDFF39D8-5900-4651-9161-1BD8F3EE85B0}" destId="{91DCC61A-B4B4-4B36-A700-C6A035B043F4}" srcOrd="0" destOrd="0" parTransId="{08D18D55-B908-4C02-8013-34C52F415E4D}" sibTransId="{F6CF5BBD-6EE2-4542-9D55-2A2CC11C5BD4}"/>
    <dgm:cxn modelId="{7C2EA914-11A8-4662-B2DD-8B6F7881F590}" type="presOf" srcId="{4534BD0F-4F8C-43EA-8A9D-988390039826}" destId="{F6EA1247-29A4-460B-AD96-F3DD14DE105D}" srcOrd="0" destOrd="0" presId="urn:microsoft.com/office/officeart/2005/8/layout/hierarchy1"/>
    <dgm:cxn modelId="{7F821D1E-EA33-4554-B6FD-FADCC704ACBF}" type="presOf" srcId="{6D213909-EC90-4C28-A117-365A6E7EBEE2}" destId="{E932FEFC-F4EB-42F4-AB42-2C12C3E5218E}" srcOrd="0" destOrd="0" presId="urn:microsoft.com/office/officeart/2005/8/layout/hierarchy1"/>
    <dgm:cxn modelId="{840EB31E-C0B0-425E-9F85-DE8C05F6A083}" srcId="{B2F640D2-1069-4FBD-BFCE-92B02BF6B241}" destId="{CF90411C-9D17-4F45-B488-5EFCBAF4C9E7}" srcOrd="0" destOrd="0" parTransId="{7E946560-0408-472D-95F2-546DA8641F12}" sibTransId="{BC3B1FC2-AFA0-4019-A664-4C086016A28B}"/>
    <dgm:cxn modelId="{C779E422-B906-42A7-ABEB-1149BE7D766B}" type="presOf" srcId="{245CD2B3-C147-4DBE-9104-382E80D28D32}" destId="{DE44BC37-03A9-41E1-89C6-06EFFDA2F5DF}" srcOrd="0" destOrd="0" presId="urn:microsoft.com/office/officeart/2005/8/layout/hierarchy1"/>
    <dgm:cxn modelId="{0859F222-DA49-4B0D-A52E-977192230B72}" type="presOf" srcId="{1DB0579D-5F15-4F8D-95F6-A61C68DA2658}" destId="{1C6EADE7-12CD-4702-A93A-ABFC65A9C740}" srcOrd="0" destOrd="0" presId="urn:microsoft.com/office/officeart/2005/8/layout/hierarchy1"/>
    <dgm:cxn modelId="{039F7623-0668-4F05-BBBD-47058D8599EA}" type="presOf" srcId="{D7D5D9D6-B95C-4E22-8BC2-54316265C412}" destId="{BF0EC4D3-041B-489B-8761-CA62F9131472}" srcOrd="0" destOrd="0" presId="urn:microsoft.com/office/officeart/2005/8/layout/hierarchy1"/>
    <dgm:cxn modelId="{9FAE3F25-BC9E-4FD1-B3E4-BC845E490BFC}" type="presOf" srcId="{C7F43309-0E32-485D-85FC-56C111F547CF}" destId="{A18B5026-E9D4-4A3E-8C41-462C71296E3E}" srcOrd="0" destOrd="0" presId="urn:microsoft.com/office/officeart/2005/8/layout/hierarchy1"/>
    <dgm:cxn modelId="{29E6562A-A466-488F-89D8-FC40D4467D5E}" type="presOf" srcId="{14C0DBA2-D6AB-4BA5-B984-753FF8D0B5A8}" destId="{BF9A23FF-3222-4DC3-A8F6-87E55DD7D34E}" srcOrd="0" destOrd="0" presId="urn:microsoft.com/office/officeart/2005/8/layout/hierarchy1"/>
    <dgm:cxn modelId="{4F6E8C2A-D79C-4CFB-A8A2-01EA00AF5500}" type="presOf" srcId="{1E93BC21-1EF3-4282-A1C3-24CD0CBAC899}" destId="{029C09EB-C27C-407A-BCCA-345358EAFC67}" srcOrd="0" destOrd="0" presId="urn:microsoft.com/office/officeart/2005/8/layout/hierarchy1"/>
    <dgm:cxn modelId="{075A932E-214C-432C-B46C-A41297D4FC80}" type="presOf" srcId="{BDC58E1E-8937-4E77-904A-7692219472B6}" destId="{4762190B-6DD4-4C83-9C7D-091318B608B9}" srcOrd="0" destOrd="0" presId="urn:microsoft.com/office/officeart/2005/8/layout/hierarchy1"/>
    <dgm:cxn modelId="{CA2B9D3A-C939-4E84-A391-91069ABA402D}" type="presOf" srcId="{36FE158A-247F-4276-A429-1DBDC971A425}" destId="{8D8BED5E-9F4F-4770-9B1C-6C40B2CB9D88}" srcOrd="0" destOrd="0" presId="urn:microsoft.com/office/officeart/2005/8/layout/hierarchy1"/>
    <dgm:cxn modelId="{8CE5033B-C64A-430A-8448-9B83B226679B}" type="presOf" srcId="{198B477B-F195-4953-B1B1-1E029511A24E}" destId="{2264EE53-F83C-452D-AE9B-D068D54A28CA}" srcOrd="0" destOrd="0" presId="urn:microsoft.com/office/officeart/2005/8/layout/hierarchy1"/>
    <dgm:cxn modelId="{52E7803B-1101-4576-906A-B461A1B6C83E}" srcId="{D7D5D9D6-B95C-4E22-8BC2-54316265C412}" destId="{21E09445-E024-41DC-800F-8E6C1C71BA99}" srcOrd="0" destOrd="0" parTransId="{C9282E00-C7E0-491D-9E0B-263C3D8091E7}" sibTransId="{0DD45860-E772-436D-8816-C8A8AECAEF98}"/>
    <dgm:cxn modelId="{BE3B993E-03A6-4125-BFC2-B0F21787D75F}" type="presOf" srcId="{DB484D28-504A-41D8-B238-1F6DF21F2CAC}" destId="{BDE1C23F-FBDD-40E4-A84B-C95B9A8B2BC1}" srcOrd="0" destOrd="0" presId="urn:microsoft.com/office/officeart/2005/8/layout/hierarchy1"/>
    <dgm:cxn modelId="{D0C76F64-439C-426B-8D6B-7A5D864BC0E3}" type="presOf" srcId="{FC66D51F-72B7-4B4C-A693-B5B6EE79A69B}" destId="{71111CA0-1839-42C4-9B1E-F159558143C8}" srcOrd="0" destOrd="0" presId="urn:microsoft.com/office/officeart/2005/8/layout/hierarchy1"/>
    <dgm:cxn modelId="{78827648-B5B4-4C1D-B162-8C525A14B301}" type="presOf" srcId="{EF7F9F21-2189-4D13-B310-9148A3689279}" destId="{52ADEC28-9DC1-406A-ADCC-54C15FA3270F}" srcOrd="0" destOrd="0" presId="urn:microsoft.com/office/officeart/2005/8/layout/hierarchy1"/>
    <dgm:cxn modelId="{A9876D49-48CA-4D52-A69E-BC7DD0B5C456}" type="presOf" srcId="{B2F640D2-1069-4FBD-BFCE-92B02BF6B241}" destId="{B11969A5-7942-4AFB-B72C-827C406EFCAE}" srcOrd="0" destOrd="0" presId="urn:microsoft.com/office/officeart/2005/8/layout/hierarchy1"/>
    <dgm:cxn modelId="{882F584A-71A6-4C7C-A1C6-E22CE10C4713}" srcId="{36FE158A-247F-4276-A429-1DBDC971A425}" destId="{B2F640D2-1069-4FBD-BFCE-92B02BF6B241}" srcOrd="1" destOrd="0" parTransId="{452B28C7-1E7C-4583-B288-6038DCCC7C9B}" sibTransId="{CB6822A6-2C02-4866-8E9E-D9F6E2DFE21B}"/>
    <dgm:cxn modelId="{7F12FF6D-7266-4E72-8927-B21D2635C19B}" type="presOf" srcId="{CF90411C-9D17-4F45-B488-5EFCBAF4C9E7}" destId="{A84BB628-369C-4F54-A3D1-78988904C7C8}" srcOrd="0" destOrd="0" presId="urn:microsoft.com/office/officeart/2005/8/layout/hierarchy1"/>
    <dgm:cxn modelId="{E9C03F4E-9127-41C0-A19B-1AF950225CC2}" type="presOf" srcId="{4E8C3D90-990F-4A3F-B3B3-05F35D149A5B}" destId="{00F36977-D773-40B0-904B-91D19C8C5A58}" srcOrd="0" destOrd="0" presId="urn:microsoft.com/office/officeart/2005/8/layout/hierarchy1"/>
    <dgm:cxn modelId="{24FD324F-9224-4F96-8D96-0DC47C8130BF}" type="presOf" srcId="{016A27C9-6FAF-4EE1-8887-ACB99BA2F3A4}" destId="{9CADACF9-2E89-4BCA-A7F1-C1D27B2F5EC4}" srcOrd="0" destOrd="0" presId="urn:microsoft.com/office/officeart/2005/8/layout/hierarchy1"/>
    <dgm:cxn modelId="{5FEA734F-5F21-4F75-A7E9-AA671D1652B1}" type="presOf" srcId="{21E09445-E024-41DC-800F-8E6C1C71BA99}" destId="{4D450AF0-35B7-485D-BE99-6316DA2D58FF}" srcOrd="0" destOrd="0" presId="urn:microsoft.com/office/officeart/2005/8/layout/hierarchy1"/>
    <dgm:cxn modelId="{6DA6D250-A1F1-4102-A7BE-AC1871659B77}" type="presOf" srcId="{3575CD14-F0EC-4B6B-9114-BC57F0AC764E}" destId="{1A181795-ADCA-42DD-ABF0-7F8AA5A84960}" srcOrd="0" destOrd="0" presId="urn:microsoft.com/office/officeart/2005/8/layout/hierarchy1"/>
    <dgm:cxn modelId="{2F6CFA51-A063-47B2-9DDC-0E0F9C241EB4}" srcId="{4FB885E2-C051-4A96-A7DD-C019D02EF671}" destId="{D7D5D9D6-B95C-4E22-8BC2-54316265C412}" srcOrd="1" destOrd="0" parTransId="{6FEABF38-9874-45FE-A7BF-85F55F6DD634}" sibTransId="{50500AD0-6BA5-49FF-81D3-D50FC6D989BF}"/>
    <dgm:cxn modelId="{045F9E52-E5CD-41D5-94A1-4C1DAB187AC5}" type="presOf" srcId="{6145046C-1FA4-4B6B-AC64-1D893E9145EF}" destId="{BC54D4F6-097C-4A06-B5F0-142E73D12017}" srcOrd="0" destOrd="0" presId="urn:microsoft.com/office/officeart/2005/8/layout/hierarchy1"/>
    <dgm:cxn modelId="{6A5E1754-BBE6-4B96-8AEE-E493A85848D5}" type="presOf" srcId="{45748E57-5937-48B4-940C-07B7E048FF83}" destId="{AC8127F1-79C9-4D56-B1AC-41DCCE4448E6}" srcOrd="0" destOrd="0" presId="urn:microsoft.com/office/officeart/2005/8/layout/hierarchy1"/>
    <dgm:cxn modelId="{9D9EBF55-DD55-4A7C-B7D5-B0173241A934}" type="presOf" srcId="{DBD19B85-BB5E-44EE-ADAC-797423E3C527}" destId="{316EB960-EFD8-434F-B892-6701E0F592C3}" srcOrd="0" destOrd="0" presId="urn:microsoft.com/office/officeart/2005/8/layout/hierarchy1"/>
    <dgm:cxn modelId="{4D1DD857-9736-43DD-AA0E-97104262ABA9}" srcId="{36FE158A-247F-4276-A429-1DBDC971A425}" destId="{198B477B-F195-4953-B1B1-1E029511A24E}" srcOrd="0" destOrd="0" parTransId="{1DB0579D-5F15-4F8D-95F6-A61C68DA2658}" sibTransId="{2573EA90-DDB7-435B-8E0C-263B47F9AAFD}"/>
    <dgm:cxn modelId="{19122E58-E384-4873-8552-A0A1AAD76FAD}" srcId="{BDFF39D8-5900-4651-9161-1BD8F3EE85B0}" destId="{FC66D51F-72B7-4B4C-A693-B5B6EE79A69B}" srcOrd="1" destOrd="0" parTransId="{4534BD0F-4F8C-43EA-8A9D-988390039826}" sibTransId="{45933215-B5BC-4FF4-9D82-9DAB521F8747}"/>
    <dgm:cxn modelId="{66F3E859-0870-4FE7-9E93-79F24AA136A4}" type="presOf" srcId="{D59A22C6-E898-4313-8121-BFB13BEA63F5}" destId="{A0F6F1A6-F450-4DD1-9342-8B1D6F5368D7}" srcOrd="0" destOrd="0" presId="urn:microsoft.com/office/officeart/2005/8/layout/hierarchy1"/>
    <dgm:cxn modelId="{89DE477B-072B-45E9-9D97-4CD35EB4637B}" type="presOf" srcId="{54EC4DFA-2AAC-4CDF-89EE-D40679A92F44}" destId="{01008639-CECD-4E1E-8F92-7DE8230426CC}" srcOrd="0" destOrd="0" presId="urn:microsoft.com/office/officeart/2005/8/layout/hierarchy1"/>
    <dgm:cxn modelId="{88B71F7F-5A1C-42D8-9C0C-481BBE4D823C}" srcId="{4FB885E2-C051-4A96-A7DD-C019D02EF671}" destId="{54EC4DFA-2AAC-4CDF-89EE-D40679A92F44}" srcOrd="0" destOrd="0" parTransId="{5173C3A0-56D4-4307-98E3-1ECC1EE5AA51}" sibTransId="{38617765-E0B1-4CDE-8F2B-3C6BD8E45982}"/>
    <dgm:cxn modelId="{7FC89480-7EBD-4B2D-AC89-5B28637CDB60}" type="presOf" srcId="{91DCC61A-B4B4-4B36-A700-C6A035B043F4}" destId="{E5659EAE-03A1-4028-BC6E-C40EFDFA4D6C}" srcOrd="0" destOrd="0" presId="urn:microsoft.com/office/officeart/2005/8/layout/hierarchy1"/>
    <dgm:cxn modelId="{F27A1083-D591-462B-885C-78F5D3EFC546}" srcId="{D7D5D9D6-B95C-4E22-8BC2-54316265C412}" destId="{1E93BC21-1EF3-4282-A1C3-24CD0CBAC899}" srcOrd="1" destOrd="0" parTransId="{CC3AAE7F-CAD3-4F56-A2B2-59E346107F08}" sibTransId="{983AFBED-B1FD-4F2C-ACC0-A5D2C731FC83}"/>
    <dgm:cxn modelId="{492D5F86-9478-440F-89CA-D1E827728B04}" type="presOf" srcId="{6FC0FBD5-D459-4683-92A0-5B6AFD13C2D1}" destId="{D8E3228A-7D88-47C7-A304-2767F1DD1E6B}" srcOrd="0" destOrd="0" presId="urn:microsoft.com/office/officeart/2005/8/layout/hierarchy1"/>
    <dgm:cxn modelId="{745AAF88-469D-4740-B0D4-C7A1622F920B}" type="presOf" srcId="{C9282E00-C7E0-491D-9E0B-263C3D8091E7}" destId="{A6615DA2-6AC0-48E6-9BD9-32833D7FF988}" srcOrd="0" destOrd="0" presId="urn:microsoft.com/office/officeart/2005/8/layout/hierarchy1"/>
    <dgm:cxn modelId="{DBBC6F8A-FA0A-4E13-A8FB-ECB768FE2DBB}" type="presOf" srcId="{4FB885E2-C051-4A96-A7DD-C019D02EF671}" destId="{0B69D292-290B-4BB9-83A0-750B81B1F54A}" srcOrd="0" destOrd="0" presId="urn:microsoft.com/office/officeart/2005/8/layout/hierarchy1"/>
    <dgm:cxn modelId="{51C56390-98B4-4F53-A230-593F99C791FF}" type="presOf" srcId="{452B28C7-1E7C-4583-B288-6038DCCC7C9B}" destId="{D8A9FB62-2E7A-4B83-8F80-583AFC90E3EA}" srcOrd="0" destOrd="0" presId="urn:microsoft.com/office/officeart/2005/8/layout/hierarchy1"/>
    <dgm:cxn modelId="{3445A991-7871-4592-AA7F-19FC5B17BEB8}" srcId="{82BB9DE6-B588-4262-9FA7-7729C05F4C37}" destId="{6FC0FBD5-D459-4683-92A0-5B6AFD13C2D1}" srcOrd="0" destOrd="0" parTransId="{269C5185-3247-4439-9D85-03AE70643AC4}" sibTransId="{C2AD4941-4704-442F-ACFB-F718E5A75C14}"/>
    <dgm:cxn modelId="{53EA199C-8470-4DCC-967F-472AFBFCD9D6}" srcId="{FC66D51F-72B7-4B4C-A693-B5B6EE79A69B}" destId="{4FB885E2-C051-4A96-A7DD-C019D02EF671}" srcOrd="2" destOrd="0" parTransId="{3575CD14-F0EC-4B6B-9114-BC57F0AC764E}" sibTransId="{904D663F-F3B2-481D-8C36-A898AFE2B031}"/>
    <dgm:cxn modelId="{FBAEA39C-6C55-43E8-ABDB-49C0500EEEA7}" type="presOf" srcId="{82BB9DE6-B588-4262-9FA7-7729C05F4C37}" destId="{56024679-05C2-49E2-AEB5-62DA7A0F1396}" srcOrd="0" destOrd="0" presId="urn:microsoft.com/office/officeart/2005/8/layout/hierarchy1"/>
    <dgm:cxn modelId="{BA106EA0-C0CD-4E60-AB9D-33D162CA54EC}" srcId="{D7D5D9D6-B95C-4E22-8BC2-54316265C412}" destId="{B2F45F0E-4227-4D73-B112-920DB5682615}" srcOrd="2" destOrd="0" parTransId="{DBD19B85-BB5E-44EE-ADAC-797423E3C527}" sibTransId="{DDC29DCC-C530-4E17-A6CF-55F3B4303069}"/>
    <dgm:cxn modelId="{4DC150A8-7E3B-41DA-929F-9988A885F3E5}" srcId="{BE4F9119-D4A5-4CBC-8D0E-E72D64FC15DD}" destId="{BDFF39D8-5900-4651-9161-1BD8F3EE85B0}" srcOrd="0" destOrd="0" parTransId="{C5CC38D6-DE25-4433-BA8B-600F25596B29}" sibTransId="{ADB42A26-CD35-4C1C-8A64-D16DB15181CF}"/>
    <dgm:cxn modelId="{144A8FAA-AF39-41B4-953C-291C1C2695CE}" type="presOf" srcId="{5F652CCE-16ED-46E7-AF9D-89912AE8A270}" destId="{02FC0626-3412-41DD-808A-592CCB3CF1C2}" srcOrd="0" destOrd="0" presId="urn:microsoft.com/office/officeart/2005/8/layout/hierarchy1"/>
    <dgm:cxn modelId="{3BF6EAAC-D78A-46B1-AECE-6BB4FC3E317A}" type="presOf" srcId="{BDFF39D8-5900-4651-9161-1BD8F3EE85B0}" destId="{A643926A-DC6B-45F1-A468-0A85B915AF40}" srcOrd="0" destOrd="0" presId="urn:microsoft.com/office/officeart/2005/8/layout/hierarchy1"/>
    <dgm:cxn modelId="{A7EA87C0-347A-4D4E-8F00-D9E7FA8C3DAF}" type="presOf" srcId="{5173C3A0-56D4-4307-98E3-1ECC1EE5AA51}" destId="{D35D66CC-E7AB-464C-85B4-9A3E3A9D8CAA}" srcOrd="0" destOrd="0" presId="urn:microsoft.com/office/officeart/2005/8/layout/hierarchy1"/>
    <dgm:cxn modelId="{241F70C2-553D-4321-A01E-760BE58972E5}" type="presOf" srcId="{2C402769-9A26-4CFD-BF51-CFD2A552E6C8}" destId="{9831FE54-AC63-4B0E-A28F-806838C73FF1}" srcOrd="0" destOrd="0" presId="urn:microsoft.com/office/officeart/2005/8/layout/hierarchy1"/>
    <dgm:cxn modelId="{F02ABCC6-E7E8-4AE2-8729-BB05104A768A}" type="presOf" srcId="{CC3AAE7F-CAD3-4F56-A2B2-59E346107F08}" destId="{368544B2-5E94-46EC-809A-0CA1952FA107}" srcOrd="0" destOrd="0" presId="urn:microsoft.com/office/officeart/2005/8/layout/hierarchy1"/>
    <dgm:cxn modelId="{1F8A5DCD-9B69-422C-A54E-893DD3C37B60}" srcId="{4FB885E2-C051-4A96-A7DD-C019D02EF671}" destId="{C7F43309-0E32-485D-85FC-56C111F547CF}" srcOrd="2" destOrd="0" parTransId="{6145046C-1FA4-4B6B-AC64-1D893E9145EF}" sibTransId="{C26189D8-AF61-4B26-B5B7-9DCB043A8E59}"/>
    <dgm:cxn modelId="{DD608CD4-50A0-44AA-B0C0-5A2C21375894}" srcId="{6FC0FBD5-D459-4683-92A0-5B6AFD13C2D1}" destId="{245CD2B3-C147-4DBE-9104-382E80D28D32}" srcOrd="0" destOrd="0" parTransId="{614DBEBE-0B13-43C9-907F-68C94C8DBF5E}" sibTransId="{FDDEA72E-3195-4D96-845B-E9E16FD6B229}"/>
    <dgm:cxn modelId="{03AD45D8-E034-43F8-BB66-6DA9D10298EC}" type="presOf" srcId="{6FEABF38-9874-45FE-A7BF-85F55F6DD634}" destId="{846A4C5B-1F6D-466E-97A1-A6138648F1A1}" srcOrd="0" destOrd="0" presId="urn:microsoft.com/office/officeart/2005/8/layout/hierarchy1"/>
    <dgm:cxn modelId="{8E8337D9-5017-404B-8E56-3E14BE655F4E}" type="presOf" srcId="{7E946560-0408-472D-95F2-546DA8641F12}" destId="{D2A377F1-AC10-433E-A9EC-1A2018A0D67C}" srcOrd="0" destOrd="0" presId="urn:microsoft.com/office/officeart/2005/8/layout/hierarchy1"/>
    <dgm:cxn modelId="{D34444E1-5124-42EF-9787-ECBC743B58A1}" srcId="{6FC0FBD5-D459-4683-92A0-5B6AFD13C2D1}" destId="{4E8C3D90-990F-4A3F-B3B3-05F35D149A5B}" srcOrd="1" destOrd="0" parTransId="{016A27C9-6FAF-4EE1-8887-ACB99BA2F3A4}" sibTransId="{F293E869-5C11-42F2-AFEA-D12C1C7C2E63}"/>
    <dgm:cxn modelId="{090FA7E3-F8B0-408B-BABF-AEBB63001C78}" type="presOf" srcId="{08D18D55-B908-4C02-8013-34C52F415E4D}" destId="{8D02598F-6388-4383-85EA-13A48D1C8419}" srcOrd="0" destOrd="0" presId="urn:microsoft.com/office/officeart/2005/8/layout/hierarchy1"/>
    <dgm:cxn modelId="{E4BCA0E4-F1D1-457C-8CFD-EA00DEA3548A}" type="presOf" srcId="{5F8A6A9C-003B-4A47-8916-11E2B639F1D9}" destId="{4327A1E2-C6FE-441F-A0B3-0B47A134C99D}" srcOrd="0" destOrd="0" presId="urn:microsoft.com/office/officeart/2005/8/layout/hierarchy1"/>
    <dgm:cxn modelId="{9AF252EE-CDB6-4F04-9914-C32F7858D616}" srcId="{C7F43309-0E32-485D-85FC-56C111F547CF}" destId="{6D213909-EC90-4C28-A117-365A6E7EBEE2}" srcOrd="0" destOrd="0" parTransId="{5F8A6A9C-003B-4A47-8916-11E2B639F1D9}" sibTransId="{64BC110A-BA4A-4298-88DD-6359FC2B85C9}"/>
    <dgm:cxn modelId="{CC386CF2-07EA-40C9-991B-6357C75A610C}" srcId="{FC66D51F-72B7-4B4C-A693-B5B6EE79A69B}" destId="{82BB9DE6-B588-4262-9FA7-7729C05F4C37}" srcOrd="1" destOrd="0" parTransId="{DB484D28-504A-41D8-B238-1F6DF21F2CAC}" sibTransId="{2639E749-8D7B-4B5C-B869-DF585390619D}"/>
    <dgm:cxn modelId="{77B5C7F4-2D10-477A-BC17-7E7750FFAF1A}" type="presOf" srcId="{B2F45F0E-4227-4D73-B112-920DB5682615}" destId="{8C5EF4B9-135C-4015-A23F-523FC199E7C5}" srcOrd="0" destOrd="0" presId="urn:microsoft.com/office/officeart/2005/8/layout/hierarchy1"/>
    <dgm:cxn modelId="{05D58AF8-010A-439D-81CA-4F87F7767BEB}" type="presOf" srcId="{BE4F9119-D4A5-4CBC-8D0E-E72D64FC15DD}" destId="{F59FA8BF-59EF-4ACB-8C2A-7905B1801BD1}" srcOrd="0" destOrd="0" presId="urn:microsoft.com/office/officeart/2005/8/layout/hierarchy1"/>
    <dgm:cxn modelId="{F8F1E5FE-4F2F-45E9-B2A6-E0F83B185360}" type="presOf" srcId="{614DBEBE-0B13-43C9-907F-68C94C8DBF5E}" destId="{0BF9C368-6ACA-4449-BE60-20C0A04F7A1B}" srcOrd="0" destOrd="0" presId="urn:microsoft.com/office/officeart/2005/8/layout/hierarchy1"/>
    <dgm:cxn modelId="{74AB859B-A790-458A-9FF5-1E620D96C4D1}" type="presParOf" srcId="{F59FA8BF-59EF-4ACB-8C2A-7905B1801BD1}" destId="{42544892-2ABC-4F51-B2A2-281368354FAD}" srcOrd="0" destOrd="0" presId="urn:microsoft.com/office/officeart/2005/8/layout/hierarchy1"/>
    <dgm:cxn modelId="{679E6254-F5E5-4E3C-A763-F82DC1D119A0}" type="presParOf" srcId="{42544892-2ABC-4F51-B2A2-281368354FAD}" destId="{CD276451-7DD5-44F0-A01A-1809401CF887}" srcOrd="0" destOrd="0" presId="urn:microsoft.com/office/officeart/2005/8/layout/hierarchy1"/>
    <dgm:cxn modelId="{1E16B094-F062-4B07-BB9E-F7BCBF482625}" type="presParOf" srcId="{CD276451-7DD5-44F0-A01A-1809401CF887}" destId="{951836F8-07C3-4487-A0F3-249EA68F7933}" srcOrd="0" destOrd="0" presId="urn:microsoft.com/office/officeart/2005/8/layout/hierarchy1"/>
    <dgm:cxn modelId="{1D9D80AA-7C64-4EFF-9650-A7F8D097A16F}" type="presParOf" srcId="{CD276451-7DD5-44F0-A01A-1809401CF887}" destId="{A643926A-DC6B-45F1-A468-0A85B915AF40}" srcOrd="1" destOrd="0" presId="urn:microsoft.com/office/officeart/2005/8/layout/hierarchy1"/>
    <dgm:cxn modelId="{F70F8707-FEE5-4FC1-B0DA-C3BF7C5CAE73}" type="presParOf" srcId="{42544892-2ABC-4F51-B2A2-281368354FAD}" destId="{DC2057BA-B65B-404F-B7B9-233591CF6EA6}" srcOrd="1" destOrd="0" presId="urn:microsoft.com/office/officeart/2005/8/layout/hierarchy1"/>
    <dgm:cxn modelId="{E22D652A-3DF2-4953-A03A-C80E938B2E7A}" type="presParOf" srcId="{DC2057BA-B65B-404F-B7B9-233591CF6EA6}" destId="{8D02598F-6388-4383-85EA-13A48D1C8419}" srcOrd="0" destOrd="0" presId="urn:microsoft.com/office/officeart/2005/8/layout/hierarchy1"/>
    <dgm:cxn modelId="{E92D130C-B0AE-4DC3-A3A2-95702951F67A}" type="presParOf" srcId="{DC2057BA-B65B-404F-B7B9-233591CF6EA6}" destId="{F8E217B2-BA2C-4E50-AA68-3654284935BE}" srcOrd="1" destOrd="0" presId="urn:microsoft.com/office/officeart/2005/8/layout/hierarchy1"/>
    <dgm:cxn modelId="{E028DD50-8F7F-4C6F-BDA2-61747698D5EC}" type="presParOf" srcId="{F8E217B2-BA2C-4E50-AA68-3654284935BE}" destId="{B16949F5-482B-4D13-A8E3-7ED78B8251C4}" srcOrd="0" destOrd="0" presId="urn:microsoft.com/office/officeart/2005/8/layout/hierarchy1"/>
    <dgm:cxn modelId="{391B3D64-086C-4C5D-A7EC-9F7B97DD11E7}" type="presParOf" srcId="{B16949F5-482B-4D13-A8E3-7ED78B8251C4}" destId="{1BA7BEB7-2855-4D0A-973A-6FED09F5CC67}" srcOrd="0" destOrd="0" presId="urn:microsoft.com/office/officeart/2005/8/layout/hierarchy1"/>
    <dgm:cxn modelId="{0187A98A-615E-4548-AB87-2AA16759535B}" type="presParOf" srcId="{B16949F5-482B-4D13-A8E3-7ED78B8251C4}" destId="{E5659EAE-03A1-4028-BC6E-C40EFDFA4D6C}" srcOrd="1" destOrd="0" presId="urn:microsoft.com/office/officeart/2005/8/layout/hierarchy1"/>
    <dgm:cxn modelId="{E1392173-073B-46E7-BE92-180179CC16E6}" type="presParOf" srcId="{F8E217B2-BA2C-4E50-AA68-3654284935BE}" destId="{B4668308-6B80-42D0-B4C4-CD5591D1B08F}" srcOrd="1" destOrd="0" presId="urn:microsoft.com/office/officeart/2005/8/layout/hierarchy1"/>
    <dgm:cxn modelId="{6A6B2A65-8F77-4074-BC49-57818B59AEC3}" type="presParOf" srcId="{DC2057BA-B65B-404F-B7B9-233591CF6EA6}" destId="{F6EA1247-29A4-460B-AD96-F3DD14DE105D}" srcOrd="2" destOrd="0" presId="urn:microsoft.com/office/officeart/2005/8/layout/hierarchy1"/>
    <dgm:cxn modelId="{F58D793C-0617-4827-B894-3C41B214D505}" type="presParOf" srcId="{DC2057BA-B65B-404F-B7B9-233591CF6EA6}" destId="{515338E3-8D79-4038-860B-238D9723F7F3}" srcOrd="3" destOrd="0" presId="urn:microsoft.com/office/officeart/2005/8/layout/hierarchy1"/>
    <dgm:cxn modelId="{A9494628-5CB5-4D0B-A6D7-C88B527BBBE2}" type="presParOf" srcId="{515338E3-8D79-4038-860B-238D9723F7F3}" destId="{B6000E42-984C-48C2-B742-9E84B7EBF6AC}" srcOrd="0" destOrd="0" presId="urn:microsoft.com/office/officeart/2005/8/layout/hierarchy1"/>
    <dgm:cxn modelId="{6B4C57D5-D81A-47A1-8B7E-98D0103CF23A}" type="presParOf" srcId="{B6000E42-984C-48C2-B742-9E84B7EBF6AC}" destId="{7F1E6730-E55B-43E5-BC56-5739ACB721D1}" srcOrd="0" destOrd="0" presId="urn:microsoft.com/office/officeart/2005/8/layout/hierarchy1"/>
    <dgm:cxn modelId="{25770DC7-DCE8-4D1E-AAB9-EC377A54F3EC}" type="presParOf" srcId="{B6000E42-984C-48C2-B742-9E84B7EBF6AC}" destId="{71111CA0-1839-42C4-9B1E-F159558143C8}" srcOrd="1" destOrd="0" presId="urn:microsoft.com/office/officeart/2005/8/layout/hierarchy1"/>
    <dgm:cxn modelId="{2DDD3B58-F5A0-430B-ADE3-C279C94DF3DF}" type="presParOf" srcId="{515338E3-8D79-4038-860B-238D9723F7F3}" destId="{3CD60CF6-75A9-47A5-BEE3-86214F564002}" srcOrd="1" destOrd="0" presId="urn:microsoft.com/office/officeart/2005/8/layout/hierarchy1"/>
    <dgm:cxn modelId="{5433137B-04C0-4471-AA62-60006ED05636}" type="presParOf" srcId="{3CD60CF6-75A9-47A5-BEE3-86214F564002}" destId="{02FC0626-3412-41DD-808A-592CCB3CF1C2}" srcOrd="0" destOrd="0" presId="urn:microsoft.com/office/officeart/2005/8/layout/hierarchy1"/>
    <dgm:cxn modelId="{B79131FA-4D91-4DBE-B51F-E67AAF946ACC}" type="presParOf" srcId="{3CD60CF6-75A9-47A5-BEE3-86214F564002}" destId="{CC3C0498-A4B5-45C3-9655-A44338678164}" srcOrd="1" destOrd="0" presId="urn:microsoft.com/office/officeart/2005/8/layout/hierarchy1"/>
    <dgm:cxn modelId="{D37704C5-0C73-40B6-90D3-3BC9C395398D}" type="presParOf" srcId="{CC3C0498-A4B5-45C3-9655-A44338678164}" destId="{090F044F-605A-49F5-8DE8-23971FF7219E}" srcOrd="0" destOrd="0" presId="urn:microsoft.com/office/officeart/2005/8/layout/hierarchy1"/>
    <dgm:cxn modelId="{251A9547-8C1E-46A0-BD7F-BD18D7590088}" type="presParOf" srcId="{090F044F-605A-49F5-8DE8-23971FF7219E}" destId="{EDE24574-53FF-4674-9D68-1AE5DFBD72BA}" srcOrd="0" destOrd="0" presId="urn:microsoft.com/office/officeart/2005/8/layout/hierarchy1"/>
    <dgm:cxn modelId="{E0C13D0E-4E7A-4E3E-A7C1-55C3588675DC}" type="presParOf" srcId="{090F044F-605A-49F5-8DE8-23971FF7219E}" destId="{8D8BED5E-9F4F-4770-9B1C-6C40B2CB9D88}" srcOrd="1" destOrd="0" presId="urn:microsoft.com/office/officeart/2005/8/layout/hierarchy1"/>
    <dgm:cxn modelId="{06A72391-5B82-4D0A-B5F5-9883B7F33B85}" type="presParOf" srcId="{CC3C0498-A4B5-45C3-9655-A44338678164}" destId="{85BF7E9A-7FE8-4AE5-8E29-ED7F5291BC67}" srcOrd="1" destOrd="0" presId="urn:microsoft.com/office/officeart/2005/8/layout/hierarchy1"/>
    <dgm:cxn modelId="{5EB7F826-98D6-4D42-8582-DDA0B10FECF8}" type="presParOf" srcId="{85BF7E9A-7FE8-4AE5-8E29-ED7F5291BC67}" destId="{1C6EADE7-12CD-4702-A93A-ABFC65A9C740}" srcOrd="0" destOrd="0" presId="urn:microsoft.com/office/officeart/2005/8/layout/hierarchy1"/>
    <dgm:cxn modelId="{EFF08496-116F-4F65-9B19-EC0F45D5615F}" type="presParOf" srcId="{85BF7E9A-7FE8-4AE5-8E29-ED7F5291BC67}" destId="{71556B0B-CFED-4070-8D73-FD0BB386F023}" srcOrd="1" destOrd="0" presId="urn:microsoft.com/office/officeart/2005/8/layout/hierarchy1"/>
    <dgm:cxn modelId="{AB84AC0F-7BC9-41BB-A181-4905E933D61B}" type="presParOf" srcId="{71556B0B-CFED-4070-8D73-FD0BB386F023}" destId="{A0F87EF8-38B3-41BD-BE53-1C7D30119FDD}" srcOrd="0" destOrd="0" presId="urn:microsoft.com/office/officeart/2005/8/layout/hierarchy1"/>
    <dgm:cxn modelId="{041A5BBF-8C22-4990-8A19-CDC003A14497}" type="presParOf" srcId="{A0F87EF8-38B3-41BD-BE53-1C7D30119FDD}" destId="{4BFFAD66-6FE2-4DCD-8D11-932B5DF4848D}" srcOrd="0" destOrd="0" presId="urn:microsoft.com/office/officeart/2005/8/layout/hierarchy1"/>
    <dgm:cxn modelId="{0A4C9974-08A0-4CD4-99C3-579B1C7F52A7}" type="presParOf" srcId="{A0F87EF8-38B3-41BD-BE53-1C7D30119FDD}" destId="{2264EE53-F83C-452D-AE9B-D068D54A28CA}" srcOrd="1" destOrd="0" presId="urn:microsoft.com/office/officeart/2005/8/layout/hierarchy1"/>
    <dgm:cxn modelId="{97DAE20E-8D4E-47ED-B5EA-82B399640CAF}" type="presParOf" srcId="{71556B0B-CFED-4070-8D73-FD0BB386F023}" destId="{0CF0A787-2FA1-4127-8941-C3D7622C3308}" srcOrd="1" destOrd="0" presId="urn:microsoft.com/office/officeart/2005/8/layout/hierarchy1"/>
    <dgm:cxn modelId="{845816A9-7D68-4EF5-9077-0AE0082292DC}" type="presParOf" srcId="{0CF0A787-2FA1-4127-8941-C3D7622C3308}" destId="{9831FE54-AC63-4B0E-A28F-806838C73FF1}" srcOrd="0" destOrd="0" presId="urn:microsoft.com/office/officeart/2005/8/layout/hierarchy1"/>
    <dgm:cxn modelId="{4F60627D-F301-4E84-B872-E9B62DC3D332}" type="presParOf" srcId="{0CF0A787-2FA1-4127-8941-C3D7622C3308}" destId="{0247E75F-60B3-4D14-A1A8-DC5EDA361993}" srcOrd="1" destOrd="0" presId="urn:microsoft.com/office/officeart/2005/8/layout/hierarchy1"/>
    <dgm:cxn modelId="{E0B574E0-0878-4D8D-B3AF-755CEBD2D3BD}" type="presParOf" srcId="{0247E75F-60B3-4D14-A1A8-DC5EDA361993}" destId="{EADDC20A-287A-437B-8636-66221EF124A6}" srcOrd="0" destOrd="0" presId="urn:microsoft.com/office/officeart/2005/8/layout/hierarchy1"/>
    <dgm:cxn modelId="{C5FB808F-3C6B-462E-A4B7-ED2DEFDDAA9C}" type="presParOf" srcId="{EADDC20A-287A-437B-8636-66221EF124A6}" destId="{962C1F71-7ADB-4579-982C-982990C9AA8B}" srcOrd="0" destOrd="0" presId="urn:microsoft.com/office/officeart/2005/8/layout/hierarchy1"/>
    <dgm:cxn modelId="{FC00F8D9-4045-47BF-A9B0-72DD2E0299FF}" type="presParOf" srcId="{EADDC20A-287A-437B-8636-66221EF124A6}" destId="{A0F6F1A6-F450-4DD1-9342-8B1D6F5368D7}" srcOrd="1" destOrd="0" presId="urn:microsoft.com/office/officeart/2005/8/layout/hierarchy1"/>
    <dgm:cxn modelId="{538D4026-3C21-4E3A-A5DB-BBA0FF083A28}" type="presParOf" srcId="{0247E75F-60B3-4D14-A1A8-DC5EDA361993}" destId="{E1FCEF18-11C5-41FB-AC69-FFFCBBF39597}" srcOrd="1" destOrd="0" presId="urn:microsoft.com/office/officeart/2005/8/layout/hierarchy1"/>
    <dgm:cxn modelId="{78D771EB-ABF0-4A7A-BFF2-E724FC0BD716}" type="presParOf" srcId="{85BF7E9A-7FE8-4AE5-8E29-ED7F5291BC67}" destId="{D8A9FB62-2E7A-4B83-8F80-583AFC90E3EA}" srcOrd="2" destOrd="0" presId="urn:microsoft.com/office/officeart/2005/8/layout/hierarchy1"/>
    <dgm:cxn modelId="{4BA58A48-AFBF-49F5-8318-81A049A7C74E}" type="presParOf" srcId="{85BF7E9A-7FE8-4AE5-8E29-ED7F5291BC67}" destId="{D500C87F-5DF2-448B-A4EC-A606537FED8B}" srcOrd="3" destOrd="0" presId="urn:microsoft.com/office/officeart/2005/8/layout/hierarchy1"/>
    <dgm:cxn modelId="{929BF899-0EBE-47FE-BCF7-FAE0FA657EDA}" type="presParOf" srcId="{D500C87F-5DF2-448B-A4EC-A606537FED8B}" destId="{4286D1D4-1CA7-49EB-B3AC-032B427697D4}" srcOrd="0" destOrd="0" presId="urn:microsoft.com/office/officeart/2005/8/layout/hierarchy1"/>
    <dgm:cxn modelId="{2BB3762D-2083-4A42-8CAA-2F3941298833}" type="presParOf" srcId="{4286D1D4-1CA7-49EB-B3AC-032B427697D4}" destId="{F8EA9BB4-5A69-4683-B59E-D598B00C85EE}" srcOrd="0" destOrd="0" presId="urn:microsoft.com/office/officeart/2005/8/layout/hierarchy1"/>
    <dgm:cxn modelId="{5ED64D8D-E338-4136-8128-76DC1D8E4164}" type="presParOf" srcId="{4286D1D4-1CA7-49EB-B3AC-032B427697D4}" destId="{B11969A5-7942-4AFB-B72C-827C406EFCAE}" srcOrd="1" destOrd="0" presId="urn:microsoft.com/office/officeart/2005/8/layout/hierarchy1"/>
    <dgm:cxn modelId="{F67CD183-DEF2-43F3-A8C8-FF2E62586690}" type="presParOf" srcId="{D500C87F-5DF2-448B-A4EC-A606537FED8B}" destId="{47C5626D-179F-4BE8-9FF3-5C8FC2421DF9}" srcOrd="1" destOrd="0" presId="urn:microsoft.com/office/officeart/2005/8/layout/hierarchy1"/>
    <dgm:cxn modelId="{050B3353-EC89-4770-9D10-4078B2EE821F}" type="presParOf" srcId="{47C5626D-179F-4BE8-9FF3-5C8FC2421DF9}" destId="{D2A377F1-AC10-433E-A9EC-1A2018A0D67C}" srcOrd="0" destOrd="0" presId="urn:microsoft.com/office/officeart/2005/8/layout/hierarchy1"/>
    <dgm:cxn modelId="{9A286BFB-988D-4DC4-8E18-BCCFF077F5EB}" type="presParOf" srcId="{47C5626D-179F-4BE8-9FF3-5C8FC2421DF9}" destId="{FE8578D1-CA93-48A8-8EA0-305C18500217}" srcOrd="1" destOrd="0" presId="urn:microsoft.com/office/officeart/2005/8/layout/hierarchy1"/>
    <dgm:cxn modelId="{2D1A3316-C252-4873-A365-B9F6A6C9A004}" type="presParOf" srcId="{FE8578D1-CA93-48A8-8EA0-305C18500217}" destId="{974C2CEC-3286-4AE4-87E7-F71120714802}" srcOrd="0" destOrd="0" presId="urn:microsoft.com/office/officeart/2005/8/layout/hierarchy1"/>
    <dgm:cxn modelId="{56B68C9C-C684-4F3F-84EA-4E1C1952251D}" type="presParOf" srcId="{974C2CEC-3286-4AE4-87E7-F71120714802}" destId="{2515AC9E-84EE-4A1B-AACA-DC98E41CC035}" srcOrd="0" destOrd="0" presId="urn:microsoft.com/office/officeart/2005/8/layout/hierarchy1"/>
    <dgm:cxn modelId="{C8244A2F-F2A1-44A7-A29F-17BC3ED13728}" type="presParOf" srcId="{974C2CEC-3286-4AE4-87E7-F71120714802}" destId="{A84BB628-369C-4F54-A3D1-78988904C7C8}" srcOrd="1" destOrd="0" presId="urn:microsoft.com/office/officeart/2005/8/layout/hierarchy1"/>
    <dgm:cxn modelId="{2A1D0912-3DB6-478F-A348-C4CC40AE475E}" type="presParOf" srcId="{FE8578D1-CA93-48A8-8EA0-305C18500217}" destId="{5BC27371-4761-4E4B-AB95-F151F0E5DB4D}" srcOrd="1" destOrd="0" presId="urn:microsoft.com/office/officeart/2005/8/layout/hierarchy1"/>
    <dgm:cxn modelId="{C5CD8F9E-4195-424A-A3DE-74F9E394AF2F}" type="presParOf" srcId="{3CD60CF6-75A9-47A5-BEE3-86214F564002}" destId="{BDE1C23F-FBDD-40E4-A84B-C95B9A8B2BC1}" srcOrd="2" destOrd="0" presId="urn:microsoft.com/office/officeart/2005/8/layout/hierarchy1"/>
    <dgm:cxn modelId="{B19E3677-6DD8-4AFC-8612-083F25FD7E67}" type="presParOf" srcId="{3CD60CF6-75A9-47A5-BEE3-86214F564002}" destId="{5F9D3CA8-8F17-42EE-8D93-1A1AAFD5E046}" srcOrd="3" destOrd="0" presId="urn:microsoft.com/office/officeart/2005/8/layout/hierarchy1"/>
    <dgm:cxn modelId="{2B39F235-9A6A-4A55-B16E-A473DB07E25A}" type="presParOf" srcId="{5F9D3CA8-8F17-42EE-8D93-1A1AAFD5E046}" destId="{303705A9-15E9-46EE-85CA-51431CBBFDBA}" srcOrd="0" destOrd="0" presId="urn:microsoft.com/office/officeart/2005/8/layout/hierarchy1"/>
    <dgm:cxn modelId="{213271DF-E206-42D8-95C5-4EBB082FF490}" type="presParOf" srcId="{303705A9-15E9-46EE-85CA-51431CBBFDBA}" destId="{7CFBAACD-2DF8-4592-83BC-37B3A6779C6B}" srcOrd="0" destOrd="0" presId="urn:microsoft.com/office/officeart/2005/8/layout/hierarchy1"/>
    <dgm:cxn modelId="{DE502312-55A6-434B-9147-727E7865BAEF}" type="presParOf" srcId="{303705A9-15E9-46EE-85CA-51431CBBFDBA}" destId="{56024679-05C2-49E2-AEB5-62DA7A0F1396}" srcOrd="1" destOrd="0" presId="urn:microsoft.com/office/officeart/2005/8/layout/hierarchy1"/>
    <dgm:cxn modelId="{5F78E080-4DFA-4F5B-A3A5-A5982409E7D4}" type="presParOf" srcId="{5F9D3CA8-8F17-42EE-8D93-1A1AAFD5E046}" destId="{6F6A1063-6B2B-4E40-B43B-93A8328CFDFD}" srcOrd="1" destOrd="0" presId="urn:microsoft.com/office/officeart/2005/8/layout/hierarchy1"/>
    <dgm:cxn modelId="{DD21EAA4-1A4E-4495-B913-AB203B5CBD81}" type="presParOf" srcId="{6F6A1063-6B2B-4E40-B43B-93A8328CFDFD}" destId="{BCD01945-D00B-4B52-9952-B1CCB70443E3}" srcOrd="0" destOrd="0" presId="urn:microsoft.com/office/officeart/2005/8/layout/hierarchy1"/>
    <dgm:cxn modelId="{B86D1D18-A43B-4507-9BD3-AC586F18EAA6}" type="presParOf" srcId="{6F6A1063-6B2B-4E40-B43B-93A8328CFDFD}" destId="{7BD5C6F2-00C0-4CA6-81FA-7E61EBEAD1B2}" srcOrd="1" destOrd="0" presId="urn:microsoft.com/office/officeart/2005/8/layout/hierarchy1"/>
    <dgm:cxn modelId="{3DBC1367-480E-47D9-9F44-7BBF570FC07D}" type="presParOf" srcId="{7BD5C6F2-00C0-4CA6-81FA-7E61EBEAD1B2}" destId="{410032D0-F1A3-4D22-ABA3-897D9904E6B5}" srcOrd="0" destOrd="0" presId="urn:microsoft.com/office/officeart/2005/8/layout/hierarchy1"/>
    <dgm:cxn modelId="{FBC3ED12-8B85-49BE-9005-E16A046A34F4}" type="presParOf" srcId="{410032D0-F1A3-4D22-ABA3-897D9904E6B5}" destId="{FAE41D07-B2AA-4B5B-86F0-4B0018EC1F8C}" srcOrd="0" destOrd="0" presId="urn:microsoft.com/office/officeart/2005/8/layout/hierarchy1"/>
    <dgm:cxn modelId="{2472E890-3D02-4CA7-A2D9-A55EEFE5E9AB}" type="presParOf" srcId="{410032D0-F1A3-4D22-ABA3-897D9904E6B5}" destId="{D8E3228A-7D88-47C7-A304-2767F1DD1E6B}" srcOrd="1" destOrd="0" presId="urn:microsoft.com/office/officeart/2005/8/layout/hierarchy1"/>
    <dgm:cxn modelId="{6DD660DA-D047-4F3C-B407-655B34CB1A05}" type="presParOf" srcId="{7BD5C6F2-00C0-4CA6-81FA-7E61EBEAD1B2}" destId="{539648AA-DA71-4D6F-B48B-C7608B9EA4A1}" srcOrd="1" destOrd="0" presId="urn:microsoft.com/office/officeart/2005/8/layout/hierarchy1"/>
    <dgm:cxn modelId="{A4C8410B-A2CA-420F-9B77-8569EC959309}" type="presParOf" srcId="{539648AA-DA71-4D6F-B48B-C7608B9EA4A1}" destId="{0BF9C368-6ACA-4449-BE60-20C0A04F7A1B}" srcOrd="0" destOrd="0" presId="urn:microsoft.com/office/officeart/2005/8/layout/hierarchy1"/>
    <dgm:cxn modelId="{87F70CFF-B747-4C6D-91AB-E79980DE4CBC}" type="presParOf" srcId="{539648AA-DA71-4D6F-B48B-C7608B9EA4A1}" destId="{BBC5757F-7349-4A53-9FBF-3DF0CB487630}" srcOrd="1" destOrd="0" presId="urn:microsoft.com/office/officeart/2005/8/layout/hierarchy1"/>
    <dgm:cxn modelId="{D95CAB21-DF88-4C92-935F-C40305EEAE33}" type="presParOf" srcId="{BBC5757F-7349-4A53-9FBF-3DF0CB487630}" destId="{2E0AFB73-44CE-4FCC-8CBA-293630483964}" srcOrd="0" destOrd="0" presId="urn:microsoft.com/office/officeart/2005/8/layout/hierarchy1"/>
    <dgm:cxn modelId="{65CB9E7A-1E3F-431D-8D15-8455444E65EF}" type="presParOf" srcId="{2E0AFB73-44CE-4FCC-8CBA-293630483964}" destId="{073C6800-5860-4F52-8CE7-8A2A9FCDA8EB}" srcOrd="0" destOrd="0" presId="urn:microsoft.com/office/officeart/2005/8/layout/hierarchy1"/>
    <dgm:cxn modelId="{C9CE94F5-ED07-49E7-9CF8-F8390514FA94}" type="presParOf" srcId="{2E0AFB73-44CE-4FCC-8CBA-293630483964}" destId="{DE44BC37-03A9-41E1-89C6-06EFFDA2F5DF}" srcOrd="1" destOrd="0" presId="urn:microsoft.com/office/officeart/2005/8/layout/hierarchy1"/>
    <dgm:cxn modelId="{AB5F61B2-8DD9-4D5A-BE9F-713E2C53DB6E}" type="presParOf" srcId="{BBC5757F-7349-4A53-9FBF-3DF0CB487630}" destId="{C983550D-EA2C-4096-9E9E-56190A1FC1CA}" srcOrd="1" destOrd="0" presId="urn:microsoft.com/office/officeart/2005/8/layout/hierarchy1"/>
    <dgm:cxn modelId="{B9C06C41-D59A-4B50-956D-6DD0F0F8520D}" type="presParOf" srcId="{539648AA-DA71-4D6F-B48B-C7608B9EA4A1}" destId="{9CADACF9-2E89-4BCA-A7F1-C1D27B2F5EC4}" srcOrd="2" destOrd="0" presId="urn:microsoft.com/office/officeart/2005/8/layout/hierarchy1"/>
    <dgm:cxn modelId="{2B4FF912-F9E2-46E7-B087-4D3896E597CD}" type="presParOf" srcId="{539648AA-DA71-4D6F-B48B-C7608B9EA4A1}" destId="{24A074B8-1C54-43A6-88CD-E2A6D900343E}" srcOrd="3" destOrd="0" presId="urn:microsoft.com/office/officeart/2005/8/layout/hierarchy1"/>
    <dgm:cxn modelId="{FA90702D-F5E9-4B2F-B34B-2F2A7FC33F90}" type="presParOf" srcId="{24A074B8-1C54-43A6-88CD-E2A6D900343E}" destId="{FC36084C-87FD-47DD-BB33-98AF77C00BA1}" srcOrd="0" destOrd="0" presId="urn:microsoft.com/office/officeart/2005/8/layout/hierarchy1"/>
    <dgm:cxn modelId="{F9F41111-368C-4FC2-9A7B-B987DE86B702}" type="presParOf" srcId="{FC36084C-87FD-47DD-BB33-98AF77C00BA1}" destId="{6847DF74-BFC8-46B3-AE8A-133D2E0494FE}" srcOrd="0" destOrd="0" presId="urn:microsoft.com/office/officeart/2005/8/layout/hierarchy1"/>
    <dgm:cxn modelId="{15D6D9D3-757D-42E4-931E-D38B2E053027}" type="presParOf" srcId="{FC36084C-87FD-47DD-BB33-98AF77C00BA1}" destId="{00F36977-D773-40B0-904B-91D19C8C5A58}" srcOrd="1" destOrd="0" presId="urn:microsoft.com/office/officeart/2005/8/layout/hierarchy1"/>
    <dgm:cxn modelId="{00C4756C-97A2-4D31-8D85-CD0074331646}" type="presParOf" srcId="{24A074B8-1C54-43A6-88CD-E2A6D900343E}" destId="{9F77A32E-D445-4C50-9999-2A98164EC996}" srcOrd="1" destOrd="0" presId="urn:microsoft.com/office/officeart/2005/8/layout/hierarchy1"/>
    <dgm:cxn modelId="{6CDEEA2C-93A7-4A68-A1FB-D0A7B00A06F5}" type="presParOf" srcId="{3CD60CF6-75A9-47A5-BEE3-86214F564002}" destId="{1A181795-ADCA-42DD-ABF0-7F8AA5A84960}" srcOrd="4" destOrd="0" presId="urn:microsoft.com/office/officeart/2005/8/layout/hierarchy1"/>
    <dgm:cxn modelId="{2626622D-199A-4D5A-A14E-209AA723196F}" type="presParOf" srcId="{3CD60CF6-75A9-47A5-BEE3-86214F564002}" destId="{12AE52A7-7FE5-4F9B-8E74-1AC42AD4E320}" srcOrd="5" destOrd="0" presId="urn:microsoft.com/office/officeart/2005/8/layout/hierarchy1"/>
    <dgm:cxn modelId="{4C8A2A1D-0F93-4A8E-8D36-F6B63D582550}" type="presParOf" srcId="{12AE52A7-7FE5-4F9B-8E74-1AC42AD4E320}" destId="{42945955-04AA-4E0A-BB00-95F229386337}" srcOrd="0" destOrd="0" presId="urn:microsoft.com/office/officeart/2005/8/layout/hierarchy1"/>
    <dgm:cxn modelId="{43705BED-AF9D-47B2-A426-340279023174}" type="presParOf" srcId="{42945955-04AA-4E0A-BB00-95F229386337}" destId="{D28C6C8A-6D0A-4EF0-8F15-15648F0C2034}" srcOrd="0" destOrd="0" presId="urn:microsoft.com/office/officeart/2005/8/layout/hierarchy1"/>
    <dgm:cxn modelId="{2E44A362-AB52-4594-8CF5-C9990473CA06}" type="presParOf" srcId="{42945955-04AA-4E0A-BB00-95F229386337}" destId="{0B69D292-290B-4BB9-83A0-750B81B1F54A}" srcOrd="1" destOrd="0" presId="urn:microsoft.com/office/officeart/2005/8/layout/hierarchy1"/>
    <dgm:cxn modelId="{0E7A80BE-F98A-4EE5-9F2A-A0644C08D831}" type="presParOf" srcId="{12AE52A7-7FE5-4F9B-8E74-1AC42AD4E320}" destId="{C57386A3-DF6D-499B-8587-AAC14F471D7D}" srcOrd="1" destOrd="0" presId="urn:microsoft.com/office/officeart/2005/8/layout/hierarchy1"/>
    <dgm:cxn modelId="{60247C53-58AB-48EC-8D37-CE976A42CC96}" type="presParOf" srcId="{C57386A3-DF6D-499B-8587-AAC14F471D7D}" destId="{D35D66CC-E7AB-464C-85B4-9A3E3A9D8CAA}" srcOrd="0" destOrd="0" presId="urn:microsoft.com/office/officeart/2005/8/layout/hierarchy1"/>
    <dgm:cxn modelId="{2BA72DF8-3BC3-4B51-8A0D-1C78CA2BB704}" type="presParOf" srcId="{C57386A3-DF6D-499B-8587-AAC14F471D7D}" destId="{92FF470A-E6E8-4B83-A9C4-6DFAFADAF127}" srcOrd="1" destOrd="0" presId="urn:microsoft.com/office/officeart/2005/8/layout/hierarchy1"/>
    <dgm:cxn modelId="{9929F2CE-F3E6-4CD7-A1D2-A9CE917FAF8D}" type="presParOf" srcId="{92FF470A-E6E8-4B83-A9C4-6DFAFADAF127}" destId="{AFCAC717-1CF8-4248-BB79-020AFB1D4DAC}" srcOrd="0" destOrd="0" presId="urn:microsoft.com/office/officeart/2005/8/layout/hierarchy1"/>
    <dgm:cxn modelId="{924F8C1A-A9C6-4CCE-82E3-9C0659F28B3E}" type="presParOf" srcId="{AFCAC717-1CF8-4248-BB79-020AFB1D4DAC}" destId="{837348BD-0F40-40F2-BFA8-1ED6AE169A90}" srcOrd="0" destOrd="0" presId="urn:microsoft.com/office/officeart/2005/8/layout/hierarchy1"/>
    <dgm:cxn modelId="{0AA1CE24-C274-4E9F-B5AD-7387D7F2013C}" type="presParOf" srcId="{AFCAC717-1CF8-4248-BB79-020AFB1D4DAC}" destId="{01008639-CECD-4E1E-8F92-7DE8230426CC}" srcOrd="1" destOrd="0" presId="urn:microsoft.com/office/officeart/2005/8/layout/hierarchy1"/>
    <dgm:cxn modelId="{D3DE9037-991C-4575-AE0B-3495EC9100A3}" type="presParOf" srcId="{92FF470A-E6E8-4B83-A9C4-6DFAFADAF127}" destId="{D55FBDED-0386-40E4-822B-3D6728725228}" srcOrd="1" destOrd="0" presId="urn:microsoft.com/office/officeart/2005/8/layout/hierarchy1"/>
    <dgm:cxn modelId="{B83AAC32-E032-46D9-83A5-0349B84C76D6}" type="presParOf" srcId="{D55FBDED-0386-40E4-822B-3D6728725228}" destId="{52ADEC28-9DC1-406A-ADCC-54C15FA3270F}" srcOrd="0" destOrd="0" presId="urn:microsoft.com/office/officeart/2005/8/layout/hierarchy1"/>
    <dgm:cxn modelId="{456793F7-0E8F-4C07-8F42-03A42D9AFE54}" type="presParOf" srcId="{D55FBDED-0386-40E4-822B-3D6728725228}" destId="{1CE0C961-2FB2-4C73-94EC-BD0AB3D35036}" srcOrd="1" destOrd="0" presId="urn:microsoft.com/office/officeart/2005/8/layout/hierarchy1"/>
    <dgm:cxn modelId="{F71DA28C-AA47-4C0B-8E1E-A3C975961477}" type="presParOf" srcId="{1CE0C961-2FB2-4C73-94EC-BD0AB3D35036}" destId="{A85BF091-DCF0-4656-8787-04C6E7E2E9EF}" srcOrd="0" destOrd="0" presId="urn:microsoft.com/office/officeart/2005/8/layout/hierarchy1"/>
    <dgm:cxn modelId="{A9D92AAB-B492-480D-86B7-1B2E31A4FB99}" type="presParOf" srcId="{A85BF091-DCF0-4656-8787-04C6E7E2E9EF}" destId="{5EB18CA7-E549-46DC-BCCF-DC1792D5F3F9}" srcOrd="0" destOrd="0" presId="urn:microsoft.com/office/officeart/2005/8/layout/hierarchy1"/>
    <dgm:cxn modelId="{E20A3A78-BEBC-4163-A11A-4EF72A1B1375}" type="presParOf" srcId="{A85BF091-DCF0-4656-8787-04C6E7E2E9EF}" destId="{AC8127F1-79C9-4D56-B1AC-41DCCE4448E6}" srcOrd="1" destOrd="0" presId="urn:microsoft.com/office/officeart/2005/8/layout/hierarchy1"/>
    <dgm:cxn modelId="{540B38EE-CF33-405E-B15D-AFC91741D4B1}" type="presParOf" srcId="{1CE0C961-2FB2-4C73-94EC-BD0AB3D35036}" destId="{0D253EC7-B22F-4AC5-AD10-13945F079553}" srcOrd="1" destOrd="0" presId="urn:microsoft.com/office/officeart/2005/8/layout/hierarchy1"/>
    <dgm:cxn modelId="{6855D035-E17D-4961-87D1-A1B4FE5F2E0C}" type="presParOf" srcId="{C57386A3-DF6D-499B-8587-AAC14F471D7D}" destId="{846A4C5B-1F6D-466E-97A1-A6138648F1A1}" srcOrd="2" destOrd="0" presId="urn:microsoft.com/office/officeart/2005/8/layout/hierarchy1"/>
    <dgm:cxn modelId="{4501957C-D22A-4747-A049-459F6F2D0202}" type="presParOf" srcId="{C57386A3-DF6D-499B-8587-AAC14F471D7D}" destId="{9C718621-9B8A-457A-914A-309CB8F249CE}" srcOrd="3" destOrd="0" presId="urn:microsoft.com/office/officeart/2005/8/layout/hierarchy1"/>
    <dgm:cxn modelId="{9047D584-7AC9-41ED-A3C0-8BFD80D2FA23}" type="presParOf" srcId="{9C718621-9B8A-457A-914A-309CB8F249CE}" destId="{6EC25D1C-2C58-4069-9262-BC19BB3C2C93}" srcOrd="0" destOrd="0" presId="urn:microsoft.com/office/officeart/2005/8/layout/hierarchy1"/>
    <dgm:cxn modelId="{996129FD-A308-4865-9D26-4118356AC1AE}" type="presParOf" srcId="{6EC25D1C-2C58-4069-9262-BC19BB3C2C93}" destId="{15B54891-22B0-4C97-91DA-846B1A6C1EE4}" srcOrd="0" destOrd="0" presId="urn:microsoft.com/office/officeart/2005/8/layout/hierarchy1"/>
    <dgm:cxn modelId="{90612208-53DE-45A4-B82A-A95D3906CDB0}" type="presParOf" srcId="{6EC25D1C-2C58-4069-9262-BC19BB3C2C93}" destId="{BF0EC4D3-041B-489B-8761-CA62F9131472}" srcOrd="1" destOrd="0" presId="urn:microsoft.com/office/officeart/2005/8/layout/hierarchy1"/>
    <dgm:cxn modelId="{DA0604DE-6869-4AD3-B39D-275265E6E1AF}" type="presParOf" srcId="{9C718621-9B8A-457A-914A-309CB8F249CE}" destId="{3F103EC5-316A-4EB3-8B19-C82020170A8E}" srcOrd="1" destOrd="0" presId="urn:microsoft.com/office/officeart/2005/8/layout/hierarchy1"/>
    <dgm:cxn modelId="{611DAC00-A8A7-4F3A-AC4C-273FCFCB7BAC}" type="presParOf" srcId="{3F103EC5-316A-4EB3-8B19-C82020170A8E}" destId="{A6615DA2-6AC0-48E6-9BD9-32833D7FF988}" srcOrd="0" destOrd="0" presId="urn:microsoft.com/office/officeart/2005/8/layout/hierarchy1"/>
    <dgm:cxn modelId="{3BDACA09-C706-4E7F-8C6D-9E6D64DB518B}" type="presParOf" srcId="{3F103EC5-316A-4EB3-8B19-C82020170A8E}" destId="{84C23158-5A61-423E-B5F4-FC6F68DC18B1}" srcOrd="1" destOrd="0" presId="urn:microsoft.com/office/officeart/2005/8/layout/hierarchy1"/>
    <dgm:cxn modelId="{4B0CF8FD-4E64-47C9-8F81-15566D3122E0}" type="presParOf" srcId="{84C23158-5A61-423E-B5F4-FC6F68DC18B1}" destId="{7DDDF47B-FF91-4FE1-B78B-0DC8A6968479}" srcOrd="0" destOrd="0" presId="urn:microsoft.com/office/officeart/2005/8/layout/hierarchy1"/>
    <dgm:cxn modelId="{0D9DA7F2-F857-41D2-A2C5-3C7A35C12F2C}" type="presParOf" srcId="{7DDDF47B-FF91-4FE1-B78B-0DC8A6968479}" destId="{3B2EE3EC-F005-4956-934E-AB4F4B8C1653}" srcOrd="0" destOrd="0" presId="urn:microsoft.com/office/officeart/2005/8/layout/hierarchy1"/>
    <dgm:cxn modelId="{0FFB5A08-8014-4A78-8F31-171995679406}" type="presParOf" srcId="{7DDDF47B-FF91-4FE1-B78B-0DC8A6968479}" destId="{4D450AF0-35B7-485D-BE99-6316DA2D58FF}" srcOrd="1" destOrd="0" presId="urn:microsoft.com/office/officeart/2005/8/layout/hierarchy1"/>
    <dgm:cxn modelId="{B5A14A43-DCAB-4C92-BD5C-2062FFAE0272}" type="presParOf" srcId="{84C23158-5A61-423E-B5F4-FC6F68DC18B1}" destId="{F577F5B6-843A-4D7B-8776-F84C794AE3CD}" srcOrd="1" destOrd="0" presId="urn:microsoft.com/office/officeart/2005/8/layout/hierarchy1"/>
    <dgm:cxn modelId="{79953BDE-FD79-42BB-9A61-00B7BFCA4355}" type="presParOf" srcId="{3F103EC5-316A-4EB3-8B19-C82020170A8E}" destId="{368544B2-5E94-46EC-809A-0CA1952FA107}" srcOrd="2" destOrd="0" presId="urn:microsoft.com/office/officeart/2005/8/layout/hierarchy1"/>
    <dgm:cxn modelId="{75226255-6788-4076-BE7F-041D66274E1C}" type="presParOf" srcId="{3F103EC5-316A-4EB3-8B19-C82020170A8E}" destId="{F609B69E-7968-4518-9751-F17A09D87A51}" srcOrd="3" destOrd="0" presId="urn:microsoft.com/office/officeart/2005/8/layout/hierarchy1"/>
    <dgm:cxn modelId="{C8776ED0-BB83-4996-AAC1-543669FB531A}" type="presParOf" srcId="{F609B69E-7968-4518-9751-F17A09D87A51}" destId="{CB3140BF-E718-48A9-B40E-6637DFAFF57B}" srcOrd="0" destOrd="0" presId="urn:microsoft.com/office/officeart/2005/8/layout/hierarchy1"/>
    <dgm:cxn modelId="{37997397-DF91-454D-B357-F043DD57978A}" type="presParOf" srcId="{CB3140BF-E718-48A9-B40E-6637DFAFF57B}" destId="{BD2BA51E-BD07-4BD0-B9C1-FC58463D6850}" srcOrd="0" destOrd="0" presId="urn:microsoft.com/office/officeart/2005/8/layout/hierarchy1"/>
    <dgm:cxn modelId="{E8964896-2EAE-43CA-9177-B7E4D7B54424}" type="presParOf" srcId="{CB3140BF-E718-48A9-B40E-6637DFAFF57B}" destId="{029C09EB-C27C-407A-BCCA-345358EAFC67}" srcOrd="1" destOrd="0" presId="urn:microsoft.com/office/officeart/2005/8/layout/hierarchy1"/>
    <dgm:cxn modelId="{E2B9ECDD-31F1-4A4F-95D0-D0E590763F24}" type="presParOf" srcId="{F609B69E-7968-4518-9751-F17A09D87A51}" destId="{06A63128-2C44-42BE-A24D-07F3AD5F16CA}" srcOrd="1" destOrd="0" presId="urn:microsoft.com/office/officeart/2005/8/layout/hierarchy1"/>
    <dgm:cxn modelId="{FE71D202-FE8F-478F-8AA5-34A625E81A67}" type="presParOf" srcId="{3F103EC5-316A-4EB3-8B19-C82020170A8E}" destId="{316EB960-EFD8-434F-B892-6701E0F592C3}" srcOrd="4" destOrd="0" presId="urn:microsoft.com/office/officeart/2005/8/layout/hierarchy1"/>
    <dgm:cxn modelId="{EDFDC112-526D-4F19-A121-63F1583D0A6E}" type="presParOf" srcId="{3F103EC5-316A-4EB3-8B19-C82020170A8E}" destId="{A6FDF81B-010D-482D-9ABC-D2A4727EE6ED}" srcOrd="5" destOrd="0" presId="urn:microsoft.com/office/officeart/2005/8/layout/hierarchy1"/>
    <dgm:cxn modelId="{79F094F6-B83C-45D7-B995-40369E3B3338}" type="presParOf" srcId="{A6FDF81B-010D-482D-9ABC-D2A4727EE6ED}" destId="{0A6D62C4-8801-4AEF-95DB-9C56744547DB}" srcOrd="0" destOrd="0" presId="urn:microsoft.com/office/officeart/2005/8/layout/hierarchy1"/>
    <dgm:cxn modelId="{705733F8-6729-4560-A0C3-66347FD3AD63}" type="presParOf" srcId="{0A6D62C4-8801-4AEF-95DB-9C56744547DB}" destId="{C7CDADC9-A852-433E-8D3C-5D75699B9AA8}" srcOrd="0" destOrd="0" presId="urn:microsoft.com/office/officeart/2005/8/layout/hierarchy1"/>
    <dgm:cxn modelId="{C3299208-237B-47F6-B9B0-B52CED452613}" type="presParOf" srcId="{0A6D62C4-8801-4AEF-95DB-9C56744547DB}" destId="{8C5EF4B9-135C-4015-A23F-523FC199E7C5}" srcOrd="1" destOrd="0" presId="urn:microsoft.com/office/officeart/2005/8/layout/hierarchy1"/>
    <dgm:cxn modelId="{89DA2B2B-CFD0-4383-B0F3-AF08637757F8}" type="presParOf" srcId="{A6FDF81B-010D-482D-9ABC-D2A4727EE6ED}" destId="{4C6DC486-FB48-49A7-94E4-DD09765AEB10}" srcOrd="1" destOrd="0" presId="urn:microsoft.com/office/officeart/2005/8/layout/hierarchy1"/>
    <dgm:cxn modelId="{3435B064-BC00-4D6E-AF74-E3A46A9C5306}" type="presParOf" srcId="{C57386A3-DF6D-499B-8587-AAC14F471D7D}" destId="{BC54D4F6-097C-4A06-B5F0-142E73D12017}" srcOrd="4" destOrd="0" presId="urn:microsoft.com/office/officeart/2005/8/layout/hierarchy1"/>
    <dgm:cxn modelId="{066ADE74-E675-4F07-B6C9-B8B961654C5D}" type="presParOf" srcId="{C57386A3-DF6D-499B-8587-AAC14F471D7D}" destId="{AB554DD4-B9B7-468C-9516-A4718B662C5C}" srcOrd="5" destOrd="0" presId="urn:microsoft.com/office/officeart/2005/8/layout/hierarchy1"/>
    <dgm:cxn modelId="{6AD03AE2-EC6B-4DA7-B2A0-5F310DA4DDB8}" type="presParOf" srcId="{AB554DD4-B9B7-468C-9516-A4718B662C5C}" destId="{5E2F2D18-1300-4568-8058-ABDAF0449C37}" srcOrd="0" destOrd="0" presId="urn:microsoft.com/office/officeart/2005/8/layout/hierarchy1"/>
    <dgm:cxn modelId="{D42A812F-153B-410E-800B-55E48CC0C157}" type="presParOf" srcId="{5E2F2D18-1300-4568-8058-ABDAF0449C37}" destId="{B1DFCC04-6A61-4925-B1AC-606AE3F9282A}" srcOrd="0" destOrd="0" presId="urn:microsoft.com/office/officeart/2005/8/layout/hierarchy1"/>
    <dgm:cxn modelId="{725F9D46-541E-4B79-8FCE-CBF832CEA21C}" type="presParOf" srcId="{5E2F2D18-1300-4568-8058-ABDAF0449C37}" destId="{A18B5026-E9D4-4A3E-8C41-462C71296E3E}" srcOrd="1" destOrd="0" presId="urn:microsoft.com/office/officeart/2005/8/layout/hierarchy1"/>
    <dgm:cxn modelId="{C01A5BC7-2EA1-4D30-A400-AE058A9E34A6}" type="presParOf" srcId="{AB554DD4-B9B7-468C-9516-A4718B662C5C}" destId="{135E75C0-890C-4444-8520-1207E73CC411}" srcOrd="1" destOrd="0" presId="urn:microsoft.com/office/officeart/2005/8/layout/hierarchy1"/>
    <dgm:cxn modelId="{B42B4C3A-01AE-4B8C-92E2-EA8140F3F759}" type="presParOf" srcId="{135E75C0-890C-4444-8520-1207E73CC411}" destId="{4327A1E2-C6FE-441F-A0B3-0B47A134C99D}" srcOrd="0" destOrd="0" presId="urn:microsoft.com/office/officeart/2005/8/layout/hierarchy1"/>
    <dgm:cxn modelId="{803A6994-D99A-4074-8BDA-B89198736070}" type="presParOf" srcId="{135E75C0-890C-4444-8520-1207E73CC411}" destId="{65D55709-EC49-4FAC-94D3-93EA69145E3A}" srcOrd="1" destOrd="0" presId="urn:microsoft.com/office/officeart/2005/8/layout/hierarchy1"/>
    <dgm:cxn modelId="{DB997021-A52A-42F0-AB1E-5C57BC444751}" type="presParOf" srcId="{65D55709-EC49-4FAC-94D3-93EA69145E3A}" destId="{3F32D3D4-7A5A-4E2A-9529-F62F3FCF6018}" srcOrd="0" destOrd="0" presId="urn:microsoft.com/office/officeart/2005/8/layout/hierarchy1"/>
    <dgm:cxn modelId="{A1CA5BF3-D68C-4548-A060-05F649BD4AA2}" type="presParOf" srcId="{3F32D3D4-7A5A-4E2A-9529-F62F3FCF6018}" destId="{E39527C6-2C95-42B0-BCE8-A091A5721C1B}" srcOrd="0" destOrd="0" presId="urn:microsoft.com/office/officeart/2005/8/layout/hierarchy1"/>
    <dgm:cxn modelId="{E1C61CBF-79DD-419D-B626-C53113103033}" type="presParOf" srcId="{3F32D3D4-7A5A-4E2A-9529-F62F3FCF6018}" destId="{E932FEFC-F4EB-42F4-AB42-2C12C3E5218E}" srcOrd="1" destOrd="0" presId="urn:microsoft.com/office/officeart/2005/8/layout/hierarchy1"/>
    <dgm:cxn modelId="{AF2C58D2-397E-4F4F-A1B8-D8E8502782F3}" type="presParOf" srcId="{65D55709-EC49-4FAC-94D3-93EA69145E3A}" destId="{1ED15766-E587-4C93-8B5B-931FA04F3355}" srcOrd="1" destOrd="0" presId="urn:microsoft.com/office/officeart/2005/8/layout/hierarchy1"/>
    <dgm:cxn modelId="{1EADE989-C464-4495-AF17-0D83791D759C}" type="presParOf" srcId="{C57386A3-DF6D-499B-8587-AAC14F471D7D}" destId="{4762190B-6DD4-4C83-9C7D-091318B608B9}" srcOrd="6" destOrd="0" presId="urn:microsoft.com/office/officeart/2005/8/layout/hierarchy1"/>
    <dgm:cxn modelId="{1E13506A-9B52-4CB1-A374-8E27449447ED}" type="presParOf" srcId="{C57386A3-DF6D-499B-8587-AAC14F471D7D}" destId="{CBE5C991-D2CD-4375-B652-11FB06307586}" srcOrd="7" destOrd="0" presId="urn:microsoft.com/office/officeart/2005/8/layout/hierarchy1"/>
    <dgm:cxn modelId="{7D2E1642-66D7-4E15-A39D-F390138C58AF}" type="presParOf" srcId="{CBE5C991-D2CD-4375-B652-11FB06307586}" destId="{81D167F2-53BC-4B8F-96B3-2150FA1923B0}" srcOrd="0" destOrd="0" presId="urn:microsoft.com/office/officeart/2005/8/layout/hierarchy1"/>
    <dgm:cxn modelId="{2322E792-3D6D-4C5D-9B74-9BF11474DB34}" type="presParOf" srcId="{81D167F2-53BC-4B8F-96B3-2150FA1923B0}" destId="{E8136ABB-346C-4574-87EC-8D86DE6C6D46}" srcOrd="0" destOrd="0" presId="urn:microsoft.com/office/officeart/2005/8/layout/hierarchy1"/>
    <dgm:cxn modelId="{A642246A-1C04-404A-AB42-336321C2C9C2}" type="presParOf" srcId="{81D167F2-53BC-4B8F-96B3-2150FA1923B0}" destId="{BF9A23FF-3222-4DC3-A8F6-87E55DD7D34E}" srcOrd="1" destOrd="0" presId="urn:microsoft.com/office/officeart/2005/8/layout/hierarchy1"/>
    <dgm:cxn modelId="{7AEA5972-3353-494D-8270-CA24E585BE33}" type="presParOf" srcId="{CBE5C991-D2CD-4375-B652-11FB06307586}" destId="{E173FA47-513C-4DC8-BBDA-04A884BC9EE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62190B-6DD4-4C83-9C7D-091318B608B9}">
      <dsp:nvSpPr>
        <dsp:cNvPr id="0" name=""/>
        <dsp:cNvSpPr/>
      </dsp:nvSpPr>
      <dsp:spPr>
        <a:xfrm>
          <a:off x="7891845" y="2345422"/>
          <a:ext cx="2588447" cy="2463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96"/>
              </a:lnTo>
              <a:lnTo>
                <a:pt x="2588447" y="167896"/>
              </a:lnTo>
              <a:lnTo>
                <a:pt x="2588447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27A1E2-C6FE-441F-A0B3-0B47A134C99D}">
      <dsp:nvSpPr>
        <dsp:cNvPr id="0" name=""/>
        <dsp:cNvSpPr/>
      </dsp:nvSpPr>
      <dsp:spPr>
        <a:xfrm>
          <a:off x="9399194" y="31297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54D4F6-097C-4A06-B5F0-142E73D12017}">
      <dsp:nvSpPr>
        <dsp:cNvPr id="0" name=""/>
        <dsp:cNvSpPr/>
      </dsp:nvSpPr>
      <dsp:spPr>
        <a:xfrm>
          <a:off x="7891845" y="2345422"/>
          <a:ext cx="1553068" cy="2463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96"/>
              </a:lnTo>
              <a:lnTo>
                <a:pt x="1553068" y="167896"/>
              </a:lnTo>
              <a:lnTo>
                <a:pt x="1553068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6EB960-EFD8-434F-B892-6701E0F592C3}">
      <dsp:nvSpPr>
        <dsp:cNvPr id="0" name=""/>
        <dsp:cNvSpPr/>
      </dsp:nvSpPr>
      <dsp:spPr>
        <a:xfrm>
          <a:off x="7374156" y="3129722"/>
          <a:ext cx="1035378" cy="2463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96"/>
              </a:lnTo>
              <a:lnTo>
                <a:pt x="1035378" y="167896"/>
              </a:lnTo>
              <a:lnTo>
                <a:pt x="1035378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8544B2-5E94-46EC-809A-0CA1952FA107}">
      <dsp:nvSpPr>
        <dsp:cNvPr id="0" name=""/>
        <dsp:cNvSpPr/>
      </dsp:nvSpPr>
      <dsp:spPr>
        <a:xfrm>
          <a:off x="7328436" y="31297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6615DA2-6AC0-48E6-9BD9-32833D7FF988}">
      <dsp:nvSpPr>
        <dsp:cNvPr id="0" name=""/>
        <dsp:cNvSpPr/>
      </dsp:nvSpPr>
      <dsp:spPr>
        <a:xfrm>
          <a:off x="6338777" y="3129722"/>
          <a:ext cx="1035378" cy="246373"/>
        </a:xfrm>
        <a:custGeom>
          <a:avLst/>
          <a:gdLst/>
          <a:ahLst/>
          <a:cxnLst/>
          <a:rect l="0" t="0" r="0" b="0"/>
          <a:pathLst>
            <a:path>
              <a:moveTo>
                <a:pt x="1035378" y="0"/>
              </a:moveTo>
              <a:lnTo>
                <a:pt x="1035378" y="167896"/>
              </a:lnTo>
              <a:lnTo>
                <a:pt x="0" y="167896"/>
              </a:lnTo>
              <a:lnTo>
                <a:pt x="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46A4C5B-1F6D-466E-97A1-A6138648F1A1}">
      <dsp:nvSpPr>
        <dsp:cNvPr id="0" name=""/>
        <dsp:cNvSpPr/>
      </dsp:nvSpPr>
      <dsp:spPr>
        <a:xfrm>
          <a:off x="7374156" y="2345422"/>
          <a:ext cx="517689" cy="246373"/>
        </a:xfrm>
        <a:custGeom>
          <a:avLst/>
          <a:gdLst/>
          <a:ahLst/>
          <a:cxnLst/>
          <a:rect l="0" t="0" r="0" b="0"/>
          <a:pathLst>
            <a:path>
              <a:moveTo>
                <a:pt x="517689" y="0"/>
              </a:moveTo>
              <a:lnTo>
                <a:pt x="517689" y="167896"/>
              </a:lnTo>
              <a:lnTo>
                <a:pt x="0" y="167896"/>
              </a:lnTo>
              <a:lnTo>
                <a:pt x="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ADEC28-9DC1-406A-ADCC-54C15FA3270F}">
      <dsp:nvSpPr>
        <dsp:cNvPr id="0" name=""/>
        <dsp:cNvSpPr/>
      </dsp:nvSpPr>
      <dsp:spPr>
        <a:xfrm>
          <a:off x="5257678" y="31297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5D66CC-E7AB-464C-85B4-9A3E3A9D8CAA}">
      <dsp:nvSpPr>
        <dsp:cNvPr id="0" name=""/>
        <dsp:cNvSpPr/>
      </dsp:nvSpPr>
      <dsp:spPr>
        <a:xfrm>
          <a:off x="5303398" y="2345422"/>
          <a:ext cx="2588447" cy="246373"/>
        </a:xfrm>
        <a:custGeom>
          <a:avLst/>
          <a:gdLst/>
          <a:ahLst/>
          <a:cxnLst/>
          <a:rect l="0" t="0" r="0" b="0"/>
          <a:pathLst>
            <a:path>
              <a:moveTo>
                <a:pt x="2588447" y="0"/>
              </a:moveTo>
              <a:lnTo>
                <a:pt x="2588447" y="167896"/>
              </a:lnTo>
              <a:lnTo>
                <a:pt x="0" y="167896"/>
              </a:lnTo>
              <a:lnTo>
                <a:pt x="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181795-ADCA-42DD-ABF0-7F8AA5A84960}">
      <dsp:nvSpPr>
        <dsp:cNvPr id="0" name=""/>
        <dsp:cNvSpPr/>
      </dsp:nvSpPr>
      <dsp:spPr>
        <a:xfrm>
          <a:off x="4785708" y="1199362"/>
          <a:ext cx="3106136" cy="4741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5707"/>
              </a:lnTo>
              <a:lnTo>
                <a:pt x="3106136" y="395707"/>
              </a:lnTo>
              <a:lnTo>
                <a:pt x="3106136" y="47418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ADACF9-2E89-4BCA-A7F1-C1D27B2F5EC4}">
      <dsp:nvSpPr>
        <dsp:cNvPr id="0" name=""/>
        <dsp:cNvSpPr/>
      </dsp:nvSpPr>
      <dsp:spPr>
        <a:xfrm>
          <a:off x="3750329" y="3129722"/>
          <a:ext cx="517689" cy="2463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96"/>
              </a:lnTo>
              <a:lnTo>
                <a:pt x="517689" y="167896"/>
              </a:lnTo>
              <a:lnTo>
                <a:pt x="517689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F9C368-6ACA-4449-BE60-20C0A04F7A1B}">
      <dsp:nvSpPr>
        <dsp:cNvPr id="0" name=""/>
        <dsp:cNvSpPr/>
      </dsp:nvSpPr>
      <dsp:spPr>
        <a:xfrm>
          <a:off x="3232640" y="3129722"/>
          <a:ext cx="517689" cy="246373"/>
        </a:xfrm>
        <a:custGeom>
          <a:avLst/>
          <a:gdLst/>
          <a:ahLst/>
          <a:cxnLst/>
          <a:rect l="0" t="0" r="0" b="0"/>
          <a:pathLst>
            <a:path>
              <a:moveTo>
                <a:pt x="517689" y="0"/>
              </a:moveTo>
              <a:lnTo>
                <a:pt x="517689" y="167896"/>
              </a:lnTo>
              <a:lnTo>
                <a:pt x="0" y="167896"/>
              </a:lnTo>
              <a:lnTo>
                <a:pt x="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D01945-D00B-4B52-9952-B1CCB70443E3}">
      <dsp:nvSpPr>
        <dsp:cNvPr id="0" name=""/>
        <dsp:cNvSpPr/>
      </dsp:nvSpPr>
      <dsp:spPr>
        <a:xfrm>
          <a:off x="3704609" y="23454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E1C23F-FBDD-40E4-A84B-C95B9A8B2BC1}">
      <dsp:nvSpPr>
        <dsp:cNvPr id="0" name=""/>
        <dsp:cNvSpPr/>
      </dsp:nvSpPr>
      <dsp:spPr>
        <a:xfrm>
          <a:off x="3750329" y="1199362"/>
          <a:ext cx="1035378" cy="474184"/>
        </a:xfrm>
        <a:custGeom>
          <a:avLst/>
          <a:gdLst/>
          <a:ahLst/>
          <a:cxnLst/>
          <a:rect l="0" t="0" r="0" b="0"/>
          <a:pathLst>
            <a:path>
              <a:moveTo>
                <a:pt x="1035378" y="0"/>
              </a:moveTo>
              <a:lnTo>
                <a:pt x="1035378" y="395707"/>
              </a:lnTo>
              <a:lnTo>
                <a:pt x="0" y="395707"/>
              </a:lnTo>
              <a:lnTo>
                <a:pt x="0" y="47418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A377F1-AC10-433E-A9EC-1A2018A0D67C}">
      <dsp:nvSpPr>
        <dsp:cNvPr id="0" name=""/>
        <dsp:cNvSpPr/>
      </dsp:nvSpPr>
      <dsp:spPr>
        <a:xfrm>
          <a:off x="2151541" y="31297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A9FB62-2E7A-4B83-8F80-583AFC90E3EA}">
      <dsp:nvSpPr>
        <dsp:cNvPr id="0" name=""/>
        <dsp:cNvSpPr/>
      </dsp:nvSpPr>
      <dsp:spPr>
        <a:xfrm>
          <a:off x="1679571" y="2345422"/>
          <a:ext cx="517689" cy="2463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896"/>
              </a:lnTo>
              <a:lnTo>
                <a:pt x="517689" y="167896"/>
              </a:lnTo>
              <a:lnTo>
                <a:pt x="517689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31FE54-AC63-4B0E-A28F-806838C73FF1}">
      <dsp:nvSpPr>
        <dsp:cNvPr id="0" name=""/>
        <dsp:cNvSpPr/>
      </dsp:nvSpPr>
      <dsp:spPr>
        <a:xfrm>
          <a:off x="1116162" y="3129722"/>
          <a:ext cx="91440" cy="24637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6EADE7-12CD-4702-A93A-ABFC65A9C740}">
      <dsp:nvSpPr>
        <dsp:cNvPr id="0" name=""/>
        <dsp:cNvSpPr/>
      </dsp:nvSpPr>
      <dsp:spPr>
        <a:xfrm>
          <a:off x="1161882" y="2345422"/>
          <a:ext cx="517689" cy="246373"/>
        </a:xfrm>
        <a:custGeom>
          <a:avLst/>
          <a:gdLst/>
          <a:ahLst/>
          <a:cxnLst/>
          <a:rect l="0" t="0" r="0" b="0"/>
          <a:pathLst>
            <a:path>
              <a:moveTo>
                <a:pt x="517689" y="0"/>
              </a:moveTo>
              <a:lnTo>
                <a:pt x="517689" y="167896"/>
              </a:lnTo>
              <a:lnTo>
                <a:pt x="0" y="167896"/>
              </a:lnTo>
              <a:lnTo>
                <a:pt x="0" y="2463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FC0626-3412-41DD-808A-592CCB3CF1C2}">
      <dsp:nvSpPr>
        <dsp:cNvPr id="0" name=""/>
        <dsp:cNvSpPr/>
      </dsp:nvSpPr>
      <dsp:spPr>
        <a:xfrm>
          <a:off x="1679571" y="1199362"/>
          <a:ext cx="3106136" cy="474184"/>
        </a:xfrm>
        <a:custGeom>
          <a:avLst/>
          <a:gdLst/>
          <a:ahLst/>
          <a:cxnLst/>
          <a:rect l="0" t="0" r="0" b="0"/>
          <a:pathLst>
            <a:path>
              <a:moveTo>
                <a:pt x="3106136" y="0"/>
              </a:moveTo>
              <a:lnTo>
                <a:pt x="3106136" y="395707"/>
              </a:lnTo>
              <a:lnTo>
                <a:pt x="0" y="395707"/>
              </a:lnTo>
              <a:lnTo>
                <a:pt x="0" y="47418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EA1247-29A4-460B-AD96-F3DD14DE105D}">
      <dsp:nvSpPr>
        <dsp:cNvPr id="0" name=""/>
        <dsp:cNvSpPr/>
      </dsp:nvSpPr>
      <dsp:spPr>
        <a:xfrm>
          <a:off x="4159481" y="448507"/>
          <a:ext cx="626227" cy="1108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336"/>
              </a:lnTo>
              <a:lnTo>
                <a:pt x="626227" y="32336"/>
              </a:lnTo>
              <a:lnTo>
                <a:pt x="626227" y="11081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02598F-6388-4383-85EA-13A48D1C8419}">
      <dsp:nvSpPr>
        <dsp:cNvPr id="0" name=""/>
        <dsp:cNvSpPr/>
      </dsp:nvSpPr>
      <dsp:spPr>
        <a:xfrm>
          <a:off x="3533253" y="448507"/>
          <a:ext cx="626227" cy="110813"/>
        </a:xfrm>
        <a:custGeom>
          <a:avLst/>
          <a:gdLst/>
          <a:ahLst/>
          <a:cxnLst/>
          <a:rect l="0" t="0" r="0" b="0"/>
          <a:pathLst>
            <a:path>
              <a:moveTo>
                <a:pt x="626227" y="0"/>
              </a:moveTo>
              <a:lnTo>
                <a:pt x="626227" y="32336"/>
              </a:lnTo>
              <a:lnTo>
                <a:pt x="0" y="32336"/>
              </a:lnTo>
              <a:lnTo>
                <a:pt x="0" y="11081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1836F8-07C3-4487-A0F3-249EA68F7933}">
      <dsp:nvSpPr>
        <dsp:cNvPr id="0" name=""/>
        <dsp:cNvSpPr/>
      </dsp:nvSpPr>
      <dsp:spPr>
        <a:xfrm>
          <a:off x="3380970" y="-89419"/>
          <a:ext cx="1557021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43926A-DC6B-45F1-A468-0A85B915AF40}">
      <dsp:nvSpPr>
        <dsp:cNvPr id="0" name=""/>
        <dsp:cNvSpPr/>
      </dsp:nvSpPr>
      <dsp:spPr>
        <a:xfrm>
          <a:off x="3475095" y="0"/>
          <a:ext cx="1557021" cy="537926"/>
        </a:xfrm>
        <a:prstGeom prst="roundRect">
          <a:avLst>
            <a:gd name="adj" fmla="val 10000"/>
          </a:avLst>
        </a:prstGeom>
        <a:solidFill>
          <a:srgbClr val="FFC00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ope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ar-JO" sz="9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79</a:t>
          </a:r>
          <a:endParaRPr lang="en-US" sz="9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490850" y="15755"/>
        <a:ext cx="1525511" cy="506416"/>
      </dsp:txXfrm>
    </dsp:sp>
    <dsp:sp modelId="{1BA7BEB7-2855-4D0A-973A-6FED09F5CC67}">
      <dsp:nvSpPr>
        <dsp:cNvPr id="0" name=""/>
        <dsp:cNvSpPr/>
      </dsp:nvSpPr>
      <dsp:spPr>
        <a:xfrm>
          <a:off x="3001150" y="559321"/>
          <a:ext cx="1064204" cy="6400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659EAE-03A1-4028-BC6E-C40EFDFA4D6C}">
      <dsp:nvSpPr>
        <dsp:cNvPr id="0" name=""/>
        <dsp:cNvSpPr/>
      </dsp:nvSpPr>
      <dsp:spPr>
        <a:xfrm>
          <a:off x="3095276" y="648740"/>
          <a:ext cx="1064204" cy="640041"/>
        </a:xfrm>
        <a:prstGeom prst="roundRect">
          <a:avLst>
            <a:gd name="adj" fmla="val 10000"/>
          </a:avLst>
        </a:prstGeom>
        <a:solidFill>
          <a:srgbClr val="00B05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latin typeface="Arial" panose="020B0604020202020204" pitchFamily="34" charset="0"/>
              <a:cs typeface="Arial" panose="020B0604020202020204" pitchFamily="34" charset="0"/>
            </a:rPr>
            <a:t>HOC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latin typeface="Arial" panose="020B0604020202020204" pitchFamily="34" charset="0"/>
              <a:cs typeface="Arial" panose="020B0604020202020204" pitchFamily="34" charset="0"/>
            </a:rPr>
            <a:t>25</a:t>
          </a:r>
          <a:r>
            <a:rPr lang="ar-JO" sz="900" b="1" kern="1200" dirty="0">
              <a:latin typeface="Arial" panose="020B0604020202020204" pitchFamily="34" charset="0"/>
              <a:cs typeface="Arial" panose="020B0604020202020204" pitchFamily="34" charset="0"/>
            </a:rPr>
            <a:t>6</a:t>
          </a:r>
          <a:endParaRPr lang="en-US" sz="9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114022" y="667486"/>
        <a:ext cx="1026712" cy="602549"/>
      </dsp:txXfrm>
    </dsp:sp>
    <dsp:sp modelId="{7F1E6730-E55B-43E5-BC56-5739ACB721D1}">
      <dsp:nvSpPr>
        <dsp:cNvPr id="0" name=""/>
        <dsp:cNvSpPr/>
      </dsp:nvSpPr>
      <dsp:spPr>
        <a:xfrm>
          <a:off x="4253606" y="559321"/>
          <a:ext cx="1064204" cy="6400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111CA0-1839-42C4-9B1E-F159558143C8}">
      <dsp:nvSpPr>
        <dsp:cNvPr id="0" name=""/>
        <dsp:cNvSpPr/>
      </dsp:nvSpPr>
      <dsp:spPr>
        <a:xfrm>
          <a:off x="4347731" y="648740"/>
          <a:ext cx="1064204" cy="640041"/>
        </a:xfrm>
        <a:prstGeom prst="roundRect">
          <a:avLst>
            <a:gd name="adj" fmla="val 10000"/>
          </a:avLst>
        </a:prstGeom>
        <a:solidFill>
          <a:srgbClr val="7030A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Remaining Sites</a:t>
          </a:r>
          <a:endParaRPr lang="en-US" sz="900" b="1" i="0" kern="1200" dirty="0">
            <a:solidFill>
              <a:prstClr val="white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ar-JO" sz="900" b="1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rPr>
            <a:t>3</a:t>
          </a:r>
          <a:endParaRPr lang="en-US" sz="900" b="1" kern="1200"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366477" y="667486"/>
        <a:ext cx="1026712" cy="602549"/>
      </dsp:txXfrm>
    </dsp:sp>
    <dsp:sp modelId="{EDE24574-53FF-4674-9D68-1AE5DFBD72BA}">
      <dsp:nvSpPr>
        <dsp:cNvPr id="0" name=""/>
        <dsp:cNvSpPr/>
      </dsp:nvSpPr>
      <dsp:spPr>
        <a:xfrm>
          <a:off x="946098" y="1673547"/>
          <a:ext cx="1466946" cy="6718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8BED5E-9F4F-4770-9B1C-6C40B2CB9D88}">
      <dsp:nvSpPr>
        <dsp:cNvPr id="0" name=""/>
        <dsp:cNvSpPr/>
      </dsp:nvSpPr>
      <dsp:spPr>
        <a:xfrm>
          <a:off x="1040223" y="1762966"/>
          <a:ext cx="1466946" cy="671875"/>
        </a:xfrm>
        <a:prstGeom prst="roundRect">
          <a:avLst>
            <a:gd name="adj" fmla="val 10000"/>
          </a:avLst>
        </a:prstGeom>
        <a:solidFill>
          <a:srgbClr val="426FBF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kkah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14</a:t>
          </a:r>
        </a:p>
      </dsp:txBody>
      <dsp:txXfrm>
        <a:off x="1059902" y="1782645"/>
        <a:ext cx="1427588" cy="632517"/>
      </dsp:txXfrm>
    </dsp:sp>
    <dsp:sp modelId="{4BFFAD66-6FE2-4DCD-8D11-932B5DF4848D}">
      <dsp:nvSpPr>
        <dsp:cNvPr id="0" name=""/>
        <dsp:cNvSpPr/>
      </dsp:nvSpPr>
      <dsp:spPr>
        <a:xfrm>
          <a:off x="738318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64EE53-F83C-452D-AE9B-D068D54A28CA}">
      <dsp:nvSpPr>
        <dsp:cNvPr id="0" name=""/>
        <dsp:cNvSpPr/>
      </dsp:nvSpPr>
      <dsp:spPr>
        <a:xfrm>
          <a:off x="832443" y="2681215"/>
          <a:ext cx="847128" cy="537926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ivate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4 Sites</a:t>
          </a:r>
        </a:p>
      </dsp:txBody>
      <dsp:txXfrm>
        <a:off x="848198" y="2696970"/>
        <a:ext cx="815618" cy="506416"/>
      </dsp:txXfrm>
    </dsp:sp>
    <dsp:sp modelId="{962C1F71-7ADB-4579-982C-982990C9AA8B}">
      <dsp:nvSpPr>
        <dsp:cNvPr id="0" name=""/>
        <dsp:cNvSpPr/>
      </dsp:nvSpPr>
      <dsp:spPr>
        <a:xfrm>
          <a:off x="738318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F6F1A6-F450-4DD1-9342-8B1D6F5368D7}">
      <dsp:nvSpPr>
        <dsp:cNvPr id="0" name=""/>
        <dsp:cNvSpPr/>
      </dsp:nvSpPr>
      <dsp:spPr>
        <a:xfrm>
          <a:off x="832443" y="3465514"/>
          <a:ext cx="847128" cy="915238"/>
        </a:xfrm>
        <a:prstGeom prst="roundRect">
          <a:avLst>
            <a:gd name="adj" fmla="val 10000"/>
          </a:avLst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</a:t>
          </a: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BP</a:t>
          </a: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 Process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4 Sites</a:t>
          </a:r>
        </a:p>
      </dsp:txBody>
      <dsp:txXfrm>
        <a:off x="857255" y="3490326"/>
        <a:ext cx="797504" cy="865614"/>
      </dsp:txXfrm>
    </dsp:sp>
    <dsp:sp modelId="{F8EA9BB4-5A69-4683-B59E-D598B00C85EE}">
      <dsp:nvSpPr>
        <dsp:cNvPr id="0" name=""/>
        <dsp:cNvSpPr/>
      </dsp:nvSpPr>
      <dsp:spPr>
        <a:xfrm>
          <a:off x="1773697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1969A5-7942-4AFB-B72C-827C406EFCAE}">
      <dsp:nvSpPr>
        <dsp:cNvPr id="0" name=""/>
        <dsp:cNvSpPr/>
      </dsp:nvSpPr>
      <dsp:spPr>
        <a:xfrm>
          <a:off x="1867822" y="2681215"/>
          <a:ext cx="847128" cy="537926"/>
        </a:xfrm>
        <a:prstGeom prst="roundRect">
          <a:avLst>
            <a:gd name="adj" fmla="val 10000"/>
          </a:avLst>
        </a:prstGeom>
        <a:solidFill>
          <a:srgbClr val="FC4C02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mana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0 Sites</a:t>
          </a:r>
        </a:p>
      </dsp:txBody>
      <dsp:txXfrm>
        <a:off x="1883577" y="2696970"/>
        <a:ext cx="815618" cy="506416"/>
      </dsp:txXfrm>
    </dsp:sp>
    <dsp:sp modelId="{2515AC9E-84EE-4A1B-AACA-DC98E41CC035}">
      <dsp:nvSpPr>
        <dsp:cNvPr id="0" name=""/>
        <dsp:cNvSpPr/>
      </dsp:nvSpPr>
      <dsp:spPr>
        <a:xfrm>
          <a:off x="1773697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4BB628-369C-4F54-A3D1-78988904C7C8}">
      <dsp:nvSpPr>
        <dsp:cNvPr id="0" name=""/>
        <dsp:cNvSpPr/>
      </dsp:nvSpPr>
      <dsp:spPr>
        <a:xfrm>
          <a:off x="1867822" y="3465514"/>
          <a:ext cx="847128" cy="9152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LA &amp; FBP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10 Sites</a:t>
          </a:r>
        </a:p>
      </dsp:txBody>
      <dsp:txXfrm>
        <a:off x="1892634" y="3490326"/>
        <a:ext cx="797504" cy="865614"/>
      </dsp:txXfrm>
    </dsp:sp>
    <dsp:sp modelId="{7CFBAACD-2DF8-4592-83BC-37B3A6779C6B}">
      <dsp:nvSpPr>
        <dsp:cNvPr id="0" name=""/>
        <dsp:cNvSpPr/>
      </dsp:nvSpPr>
      <dsp:spPr>
        <a:xfrm>
          <a:off x="3016856" y="1673547"/>
          <a:ext cx="1466946" cy="6718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024679-05C2-49E2-AEB5-62DA7A0F1396}">
      <dsp:nvSpPr>
        <dsp:cNvPr id="0" name=""/>
        <dsp:cNvSpPr/>
      </dsp:nvSpPr>
      <dsp:spPr>
        <a:xfrm>
          <a:off x="3110981" y="1762966"/>
          <a:ext cx="1466946" cy="671875"/>
        </a:xfrm>
        <a:prstGeom prst="roundRect">
          <a:avLst>
            <a:gd name="adj" fmla="val 10000"/>
          </a:avLst>
        </a:prstGeom>
        <a:solidFill>
          <a:srgbClr val="426FBF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dinah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2</a:t>
          </a:r>
        </a:p>
      </dsp:txBody>
      <dsp:txXfrm>
        <a:off x="3130660" y="1782645"/>
        <a:ext cx="1427588" cy="632517"/>
      </dsp:txXfrm>
    </dsp:sp>
    <dsp:sp modelId="{FAE41D07-B2AA-4B5B-86F0-4B0018EC1F8C}">
      <dsp:nvSpPr>
        <dsp:cNvPr id="0" name=""/>
        <dsp:cNvSpPr/>
      </dsp:nvSpPr>
      <dsp:spPr>
        <a:xfrm>
          <a:off x="3326765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E3228A-7D88-47C7-A304-2767F1DD1E6B}">
      <dsp:nvSpPr>
        <dsp:cNvPr id="0" name=""/>
        <dsp:cNvSpPr/>
      </dsp:nvSpPr>
      <dsp:spPr>
        <a:xfrm>
          <a:off x="3420891" y="2681215"/>
          <a:ext cx="847128" cy="537926"/>
        </a:xfrm>
        <a:prstGeom prst="roundRect">
          <a:avLst>
            <a:gd name="adj" fmla="val 10000"/>
          </a:avLst>
        </a:prstGeom>
        <a:solidFill>
          <a:srgbClr val="FC4C02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mana Sites</a:t>
          </a:r>
        </a:p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2 Sites</a:t>
          </a:r>
        </a:p>
      </dsp:txBody>
      <dsp:txXfrm>
        <a:off x="3436646" y="2696970"/>
        <a:ext cx="815618" cy="506416"/>
      </dsp:txXfrm>
    </dsp:sp>
    <dsp:sp modelId="{073C6800-5860-4F52-8CE7-8A2A9FCDA8EB}">
      <dsp:nvSpPr>
        <dsp:cNvPr id="0" name=""/>
        <dsp:cNvSpPr/>
      </dsp:nvSpPr>
      <dsp:spPr>
        <a:xfrm>
          <a:off x="2809076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44BC37-03A9-41E1-89C6-06EFFDA2F5DF}">
      <dsp:nvSpPr>
        <dsp:cNvPr id="0" name=""/>
        <dsp:cNvSpPr/>
      </dsp:nvSpPr>
      <dsp:spPr>
        <a:xfrm>
          <a:off x="2903201" y="3465514"/>
          <a:ext cx="847128" cy="9152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LA Issuance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sp:txBody>
      <dsp:txXfrm>
        <a:off x="2928013" y="3490326"/>
        <a:ext cx="797504" cy="865614"/>
      </dsp:txXfrm>
    </dsp:sp>
    <dsp:sp modelId="{6847DF74-BFC8-46B3-AE8A-133D2E0494FE}">
      <dsp:nvSpPr>
        <dsp:cNvPr id="0" name=""/>
        <dsp:cNvSpPr/>
      </dsp:nvSpPr>
      <dsp:spPr>
        <a:xfrm>
          <a:off x="3844455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F36977-D773-40B0-904B-91D19C8C5A58}">
      <dsp:nvSpPr>
        <dsp:cNvPr id="0" name=""/>
        <dsp:cNvSpPr/>
      </dsp:nvSpPr>
      <dsp:spPr>
        <a:xfrm>
          <a:off x="3938580" y="3465514"/>
          <a:ext cx="847128" cy="9152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Newly Added under LA Issuance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sp:txBody>
      <dsp:txXfrm>
        <a:off x="3963392" y="3490326"/>
        <a:ext cx="797504" cy="865614"/>
      </dsp:txXfrm>
    </dsp:sp>
    <dsp:sp modelId="{D28C6C8A-6D0A-4EF0-8F15-15648F0C2034}">
      <dsp:nvSpPr>
        <dsp:cNvPr id="0" name=""/>
        <dsp:cNvSpPr/>
      </dsp:nvSpPr>
      <dsp:spPr>
        <a:xfrm>
          <a:off x="7158372" y="1673547"/>
          <a:ext cx="1466946" cy="6718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69D292-290B-4BB9-83A0-750B81B1F54A}">
      <dsp:nvSpPr>
        <dsp:cNvPr id="0" name=""/>
        <dsp:cNvSpPr/>
      </dsp:nvSpPr>
      <dsp:spPr>
        <a:xfrm>
          <a:off x="7252497" y="1762966"/>
          <a:ext cx="1466946" cy="671875"/>
        </a:xfrm>
        <a:prstGeom prst="roundRect">
          <a:avLst>
            <a:gd name="adj" fmla="val 10000"/>
          </a:avLst>
        </a:prstGeom>
        <a:solidFill>
          <a:srgbClr val="426FBF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Other District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</a:t>
          </a:r>
          <a:r>
            <a:rPr lang="ar-JO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7</a:t>
          </a: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Sites</a:t>
          </a:r>
          <a:endParaRPr lang="en-US" sz="90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272176" y="1782645"/>
        <a:ext cx="1427588" cy="632517"/>
      </dsp:txXfrm>
    </dsp:sp>
    <dsp:sp modelId="{837348BD-0F40-40F2-BFA8-1ED6AE169A90}">
      <dsp:nvSpPr>
        <dsp:cNvPr id="0" name=""/>
        <dsp:cNvSpPr/>
      </dsp:nvSpPr>
      <dsp:spPr>
        <a:xfrm>
          <a:off x="4879834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008639-CECD-4E1E-8F92-7DE8230426CC}">
      <dsp:nvSpPr>
        <dsp:cNvPr id="0" name=""/>
        <dsp:cNvSpPr/>
      </dsp:nvSpPr>
      <dsp:spPr>
        <a:xfrm>
          <a:off x="4973959" y="2681215"/>
          <a:ext cx="847128" cy="537926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ivate Sites </a:t>
          </a:r>
        </a:p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</a:t>
          </a:r>
          <a:r>
            <a:rPr lang="ar-JO" sz="85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Sites</a:t>
          </a:r>
          <a:endParaRPr lang="en-US" sz="85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89714" y="2696970"/>
        <a:ext cx="815618" cy="506416"/>
      </dsp:txXfrm>
    </dsp:sp>
    <dsp:sp modelId="{5EB18CA7-E549-46DC-BCCF-DC1792D5F3F9}">
      <dsp:nvSpPr>
        <dsp:cNvPr id="0" name=""/>
        <dsp:cNvSpPr/>
      </dsp:nvSpPr>
      <dsp:spPr>
        <a:xfrm>
          <a:off x="4879834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8127F1-79C9-4D56-B1AC-41DCCE4448E6}">
      <dsp:nvSpPr>
        <dsp:cNvPr id="0" name=""/>
        <dsp:cNvSpPr/>
      </dsp:nvSpPr>
      <dsp:spPr>
        <a:xfrm>
          <a:off x="4973959" y="3465514"/>
          <a:ext cx="847128" cy="9152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FBP/New Baladi sys.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2 Sites</a:t>
          </a:r>
        </a:p>
      </dsp:txBody>
      <dsp:txXfrm>
        <a:off x="4998771" y="3490326"/>
        <a:ext cx="797504" cy="865614"/>
      </dsp:txXfrm>
    </dsp:sp>
    <dsp:sp modelId="{15B54891-22B0-4C97-91DA-846B1A6C1EE4}">
      <dsp:nvSpPr>
        <dsp:cNvPr id="0" name=""/>
        <dsp:cNvSpPr/>
      </dsp:nvSpPr>
      <dsp:spPr>
        <a:xfrm>
          <a:off x="6950592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0EC4D3-041B-489B-8761-CA62F9131472}">
      <dsp:nvSpPr>
        <dsp:cNvPr id="0" name=""/>
        <dsp:cNvSpPr/>
      </dsp:nvSpPr>
      <dsp:spPr>
        <a:xfrm>
          <a:off x="7044717" y="2681215"/>
          <a:ext cx="847128" cy="537926"/>
        </a:xfrm>
        <a:prstGeom prst="roundRect">
          <a:avLst>
            <a:gd name="adj" fmla="val 10000"/>
          </a:avLst>
        </a:prstGeom>
        <a:solidFill>
          <a:srgbClr val="FC4C02"/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i="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Amana Sit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</a:t>
          </a:r>
          <a:r>
            <a:rPr lang="ar-JO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</a:t>
          </a:r>
          <a:r>
            <a:rPr lang="en-US" sz="850" b="1" i="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Sites</a:t>
          </a:r>
        </a:p>
      </dsp:txBody>
      <dsp:txXfrm>
        <a:off x="7060472" y="2696970"/>
        <a:ext cx="815618" cy="506416"/>
      </dsp:txXfrm>
    </dsp:sp>
    <dsp:sp modelId="{3B2EE3EC-F005-4956-934E-AB4F4B8C1653}">
      <dsp:nvSpPr>
        <dsp:cNvPr id="0" name=""/>
        <dsp:cNvSpPr/>
      </dsp:nvSpPr>
      <dsp:spPr>
        <a:xfrm>
          <a:off x="5915213" y="3376095"/>
          <a:ext cx="847128" cy="8976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450AF0-35B7-485D-BE99-6316DA2D58FF}">
      <dsp:nvSpPr>
        <dsp:cNvPr id="0" name=""/>
        <dsp:cNvSpPr/>
      </dsp:nvSpPr>
      <dsp:spPr>
        <a:xfrm>
          <a:off x="6009338" y="3465514"/>
          <a:ext cx="847128" cy="897680"/>
        </a:xfrm>
        <a:prstGeom prst="roundRect">
          <a:avLst>
            <a:gd name="adj" fmla="val 10000"/>
          </a:avLst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Newly Added 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LA Issuance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sp:txBody>
      <dsp:txXfrm>
        <a:off x="6034150" y="3490326"/>
        <a:ext cx="797504" cy="848056"/>
      </dsp:txXfrm>
    </dsp:sp>
    <dsp:sp modelId="{BD2BA51E-BD07-4BD0-B9C1-FC58463D6850}">
      <dsp:nvSpPr>
        <dsp:cNvPr id="0" name=""/>
        <dsp:cNvSpPr/>
      </dsp:nvSpPr>
      <dsp:spPr>
        <a:xfrm>
          <a:off x="6950592" y="3376095"/>
          <a:ext cx="847128" cy="8976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9C09EB-C27C-407A-BCCA-345358EAFC67}">
      <dsp:nvSpPr>
        <dsp:cNvPr id="0" name=""/>
        <dsp:cNvSpPr/>
      </dsp:nvSpPr>
      <dsp:spPr>
        <a:xfrm>
          <a:off x="7044717" y="3465514"/>
          <a:ext cx="847128" cy="897680"/>
        </a:xfrm>
        <a:prstGeom prst="roundRect">
          <a:avLst>
            <a:gd name="adj" fmla="val 10000"/>
          </a:avLst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Under Initial Approval from Amana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sp:txBody>
      <dsp:txXfrm>
        <a:off x="7069529" y="3490326"/>
        <a:ext cx="797504" cy="848056"/>
      </dsp:txXfrm>
    </dsp:sp>
    <dsp:sp modelId="{C7CDADC9-A852-433E-8D3C-5D75699B9AA8}">
      <dsp:nvSpPr>
        <dsp:cNvPr id="0" name=""/>
        <dsp:cNvSpPr/>
      </dsp:nvSpPr>
      <dsp:spPr>
        <a:xfrm>
          <a:off x="7985971" y="3376095"/>
          <a:ext cx="847128" cy="8976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5EF4B9-135C-4015-A23F-523FC199E7C5}">
      <dsp:nvSpPr>
        <dsp:cNvPr id="0" name=""/>
        <dsp:cNvSpPr/>
      </dsp:nvSpPr>
      <dsp:spPr>
        <a:xfrm>
          <a:off x="8080096" y="3465514"/>
          <a:ext cx="847128" cy="897680"/>
        </a:xfrm>
        <a:prstGeom prst="roundRect">
          <a:avLst>
            <a:gd name="adj" fmla="val 10000"/>
          </a:avLst>
        </a:prstGeom>
        <a:solidFill>
          <a:prstClr val="white">
            <a:alpha val="90000"/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Newly Added LA Renewed with Existing Site Owner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s</a:t>
          </a:r>
        </a:p>
      </dsp:txBody>
      <dsp:txXfrm>
        <a:off x="8104908" y="3490326"/>
        <a:ext cx="797504" cy="848056"/>
      </dsp:txXfrm>
    </dsp:sp>
    <dsp:sp modelId="{B1DFCC04-6A61-4925-B1AC-606AE3F9282A}">
      <dsp:nvSpPr>
        <dsp:cNvPr id="0" name=""/>
        <dsp:cNvSpPr/>
      </dsp:nvSpPr>
      <dsp:spPr>
        <a:xfrm>
          <a:off x="9021350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8B5026-E9D4-4A3E-8C41-462C71296E3E}">
      <dsp:nvSpPr>
        <dsp:cNvPr id="0" name=""/>
        <dsp:cNvSpPr/>
      </dsp:nvSpPr>
      <dsp:spPr>
        <a:xfrm>
          <a:off x="9115475" y="2681215"/>
          <a:ext cx="847128" cy="537926"/>
        </a:xfrm>
        <a:prstGeom prst="roundRect">
          <a:avLst>
            <a:gd name="adj" fmla="val 10000"/>
          </a:avLst>
        </a:prstGeom>
        <a:solidFill>
          <a:schemeClr val="accent6">
            <a:lumMod val="7500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Gov. Sites</a:t>
          </a:r>
        </a:p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01 Sites</a:t>
          </a:r>
        </a:p>
      </dsp:txBody>
      <dsp:txXfrm>
        <a:off x="9131230" y="2696970"/>
        <a:ext cx="815618" cy="506416"/>
      </dsp:txXfrm>
    </dsp:sp>
    <dsp:sp modelId="{E39527C6-2C95-42B0-BCE8-A091A5721C1B}">
      <dsp:nvSpPr>
        <dsp:cNvPr id="0" name=""/>
        <dsp:cNvSpPr/>
      </dsp:nvSpPr>
      <dsp:spPr>
        <a:xfrm>
          <a:off x="9021350" y="3376095"/>
          <a:ext cx="847128" cy="9152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32FEFC-F4EB-42F4-AB42-2C12C3E5218E}">
      <dsp:nvSpPr>
        <dsp:cNvPr id="0" name=""/>
        <dsp:cNvSpPr/>
      </dsp:nvSpPr>
      <dsp:spPr>
        <a:xfrm>
          <a:off x="9115475" y="3465514"/>
          <a:ext cx="847128" cy="9152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Under Tender Apply or LA Issuance</a:t>
          </a:r>
        </a:p>
        <a:p>
          <a:pPr marL="0" lvl="0" indent="0" algn="ctr" defTabSz="3333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50" b="1" kern="1200" dirty="0">
              <a:latin typeface="Arial" panose="020B0604020202020204" pitchFamily="34" charset="0"/>
              <a:cs typeface="Arial" panose="020B0604020202020204" pitchFamily="34" charset="0"/>
            </a:rPr>
            <a:t>01 Site</a:t>
          </a:r>
        </a:p>
      </dsp:txBody>
      <dsp:txXfrm>
        <a:off x="9140287" y="3490326"/>
        <a:ext cx="797504" cy="865614"/>
      </dsp:txXfrm>
    </dsp:sp>
    <dsp:sp modelId="{E8136ABB-346C-4574-87EC-8D86DE6C6D46}">
      <dsp:nvSpPr>
        <dsp:cNvPr id="0" name=""/>
        <dsp:cNvSpPr/>
      </dsp:nvSpPr>
      <dsp:spPr>
        <a:xfrm>
          <a:off x="10056729" y="2591795"/>
          <a:ext cx="847128" cy="5379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9A23FF-3222-4DC3-A8F6-87E55DD7D34E}">
      <dsp:nvSpPr>
        <dsp:cNvPr id="0" name=""/>
        <dsp:cNvSpPr/>
      </dsp:nvSpPr>
      <dsp:spPr>
        <a:xfrm>
          <a:off x="10150854" y="2681215"/>
          <a:ext cx="847128" cy="537926"/>
        </a:xfrm>
        <a:prstGeom prst="roundRect">
          <a:avLst>
            <a:gd name="adj" fmla="val 10000"/>
          </a:avLst>
        </a:prstGeom>
        <a:solidFill>
          <a:schemeClr val="accent2">
            <a:lumMod val="7500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Under Sharing </a:t>
          </a:r>
        </a:p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i="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1 Site</a:t>
          </a:r>
          <a:endParaRPr lang="en-US" sz="85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0166609" y="2696970"/>
        <a:ext cx="815618" cy="5064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7E099-F6B5-4139-884A-7D399F6748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0BF00E-D1D8-49B3-B8B6-A48FA05F2A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478C46-EDA0-40D0-95A7-7BB188756A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1AAE89-B4EA-42DE-8FAC-7F835E2CC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1522B5-3885-44DE-9EC7-2CEF42A82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88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A82375-8767-4D73-B928-91336581D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264DF5-935E-4AB6-9291-91D22C6D9C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43F695-1451-451A-85F5-3E53A1F39C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CC120-9D7A-4627-B9CB-3D3F824BA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BF3117-3CA9-4402-BFA2-67F038787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2832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A62E5D-3EBA-49C6-9910-5A7CA47F5D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B9F78A-BB1C-4311-ADBB-C08067B44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9B6319-E993-45C0-BA0A-A983DE4E5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1163C0-CD87-44A6-9E03-D394E07EB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6EE57-818F-4B45-A8EA-300916ABC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4090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Dark Backgrou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97BEED8-9542-F542-BA49-D14E336F52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958452" y="1977233"/>
            <a:ext cx="8640960" cy="2225226"/>
          </a:xfrm>
        </p:spPr>
        <p:txBody>
          <a:bodyPr anchor="ctr">
            <a:norm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958452" y="4679827"/>
            <a:ext cx="8640960" cy="57234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3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23393" y="6093297"/>
            <a:ext cx="4381500" cy="287337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 err="1"/>
              <a:t>tawal.com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12B302A-139E-0D4B-B87D-3302C38294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18596" y="469900"/>
            <a:ext cx="1945723" cy="319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664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309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85271B-FE8A-4A46-A9DC-3FE419CB5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10A864-7A2C-4C75-BA7F-EE3E2765AA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E82C1B-85A9-4CAA-ACF2-F6BD975334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AC3FE8-BDCD-4625-B2A3-1F1824FB85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434262-A592-4B3D-8C6D-FBC7AB0CE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2217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CFBD93-89EF-4C4B-9487-2C1BF2597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47073A-678B-4C95-9169-CCBF727B64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505EF2-DED2-471B-B732-86B32525E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573B8E-479B-4FF9-A455-FADEB04C3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A9405A-D8FC-4702-8111-E42C814C5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232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7F0BE-5D3F-4041-A8F0-766B49D34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D426EF-CA0B-4F31-99BF-F1E19CCD65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82C3AD-4E06-49B7-A905-DF4379EFC2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92C1ED-6BCA-4025-A5B8-EC02AC5756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A89343-C4FA-4DCC-A0D8-556F17DF40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7BA923-B115-4D90-8C45-AB4298D60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651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5442A-2066-410C-8983-D3D8C45E9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36FB7C-D7AB-4DA0-B0EE-738CDA79F3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D9328A-24C6-4EBD-81EF-08AD2894EF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C9B5F6-7611-4402-B41E-9B8A90752A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C34CDC5-D08D-4DC4-A3A1-6FE9BC7F4B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FA82CC-90AF-41ED-9344-AA85A30CE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F7FF8C-B3EE-45BB-AF20-4776FB5665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FD3CBE-E86F-44EC-95D0-F3EC77E1A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885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43D2A-5A5C-4EB4-80FB-3713015B8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56DBE6-430C-41DD-AD43-D39EBDEB1D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990F0E-220D-4EEA-AD32-507029017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0A2929-D961-40B7-8C14-B32544863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277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25FA61-5707-48EB-B8D5-FED37F4797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0E2E6A-EF91-4B4E-95E4-FDCE17926A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B94EE8-1314-48EC-9BE2-8C48A341F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046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9B9111-FBC9-48DC-9F8F-0831859BD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680128-96EE-489B-85FD-44C9CAC45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69DAC7-1AB6-4C05-9A2E-6B36FB4C31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7CD461-C441-4D03-9468-735CCCC1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8CD863-9BFC-4532-9C3F-2E53EBC4E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DB90B1-54ED-4040-90F3-DB2DE47B7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457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E38F5B-A78C-43D1-94F5-BE9CADEA44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EDF130-8163-4D2A-957F-96E3E4ED53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E37AFF-309F-4FC4-9812-7F5CE50AEB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7BADC9-8ECA-497D-AB90-F5571DAF65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B2BFF0-40EB-4871-90C1-789E21657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813A12-3807-4F32-9282-6D3DAEF15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630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F7B28F-641B-49E9-8F50-6750121968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F168D6-76C2-4CEC-A434-EE76A5E9DA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775954-FB27-4AD4-8901-A2865C7219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AFDFC3-68CA-4162-B601-D1075B74141D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ADE40E-7937-4676-8DF2-7371EBD069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252415-A47B-4F18-81E5-3FAB4ACA98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DB7F45-D337-4D44-A05B-D6E927DA8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083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2.xml"/><Relationship Id="rId9" Type="http://schemas.openxmlformats.org/officeDocument/2006/relationships/slide" Target="slide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slide" Target="slide2.xml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5.png"/><Relationship Id="rId9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12" Type="http://schemas.openxmlformats.org/officeDocument/2006/relationships/image" Target="cid:image002.png@01D641E9.EA578D00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2.xml"/><Relationship Id="rId9" Type="http://schemas.openxmlformats.org/officeDocument/2006/relationships/slide" Target="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3F04B9-959C-4A44-A2DE-FF2C45962A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421" imgH="423" progId="">
                  <p:embed/>
                </p:oleObj>
              </mc:Choice>
              <mc:Fallback>
                <p:oleObj name="think-cell Slide" r:id="rId5" imgW="421" imgH="423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3F04B9-959C-4A44-A2DE-FF2C45962A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8D55C1C-204F-4D49-B9E9-98D92E35A5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  <a:effectLst>
            <a:softEdge rad="0"/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C743ADC8-F8F1-684C-A47C-75E55858B70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/>
          <a:srcRect l="13944" r="13944"/>
          <a:stretch>
            <a:fillRect/>
          </a:stretch>
        </p:blipFill>
        <p:spPr>
          <a:xfrm>
            <a:off x="0" y="0"/>
            <a:ext cx="12192000" cy="6858000"/>
          </a:xfr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971B71-B42F-704A-8C96-FF4196774C4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3000"/>
          </a:blip>
          <a:srcRect r="50000" b="55844"/>
          <a:stretch/>
        </p:blipFill>
        <p:spPr>
          <a:xfrm>
            <a:off x="8917558" y="2630658"/>
            <a:ext cx="3274442" cy="4227342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6A3A54D-65CA-48DA-8274-F505EA14068B}"/>
              </a:ext>
            </a:extLst>
          </p:cNvPr>
          <p:cNvSpPr txBox="1">
            <a:spLocks/>
          </p:cNvSpPr>
          <p:nvPr/>
        </p:nvSpPr>
        <p:spPr>
          <a:xfrm>
            <a:off x="2213725" y="2316387"/>
            <a:ext cx="7764549" cy="22252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20098"/>
                </a:solidFill>
                <a:effectLst/>
                <a:uLnTx/>
                <a:uFillTx/>
                <a:latin typeface="Tahoma" charset="0"/>
                <a:ea typeface="Tahoma" charset="0"/>
                <a:cs typeface="Tahoma" charset="0"/>
              </a:rPr>
              <a:t>Aspiration Project Tree</a:t>
            </a:r>
            <a:endParaRPr lang="en-US" sz="2800" b="1" dirty="0">
              <a:solidFill>
                <a:srgbClr val="620098"/>
              </a:solidFill>
            </a:endParaRPr>
          </a:p>
          <a:p>
            <a:pPr lvl="0">
              <a:defRPr/>
            </a:pPr>
            <a:r>
              <a:rPr lang="en-US" sz="2000" dirty="0">
                <a:solidFill>
                  <a:srgbClr val="620098"/>
                </a:solidFill>
              </a:rPr>
              <a:t>06-Oct-21</a:t>
            </a:r>
          </a:p>
        </p:txBody>
      </p:sp>
      <p:pic>
        <p:nvPicPr>
          <p:cNvPr id="11" name="Picture 10">
            <a:hlinkClick r:id="rId9" action="ppaction://hlinksldjump"/>
            <a:extLst>
              <a:ext uri="{FF2B5EF4-FFF2-40B4-BE49-F238E27FC236}">
                <a16:creationId xmlns:a16="http://schemas.microsoft.com/office/drawing/2014/main" id="{8CF37181-BD18-4CD7-B7E9-01783E2602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78171" y="5685939"/>
            <a:ext cx="2713829" cy="10153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E8482D4-E543-4961-8068-A3FF7A2E2E3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5038" y="141634"/>
            <a:ext cx="1492526" cy="746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905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07D9CEB-D0FE-48D9-8705-3C1B797097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5038" y="141634"/>
            <a:ext cx="1492526" cy="746263"/>
          </a:xfrm>
          <a:prstGeom prst="rect">
            <a:avLst/>
          </a:prstGeom>
        </p:spPr>
      </p:pic>
      <p:pic>
        <p:nvPicPr>
          <p:cNvPr id="6" name="Picture 5">
            <a:hlinkClick r:id="rId3" action="ppaction://hlinksldjump"/>
            <a:extLst>
              <a:ext uri="{FF2B5EF4-FFF2-40B4-BE49-F238E27FC236}">
                <a16:creationId xmlns:a16="http://schemas.microsoft.com/office/drawing/2014/main" id="{6B79A9F0-0439-4D73-A273-0B4111C1F8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340" y="141634"/>
            <a:ext cx="2227548" cy="83338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08F975D-4577-4842-90E4-326B48B61DB3}"/>
              </a:ext>
            </a:extLst>
          </p:cNvPr>
          <p:cNvCxnSpPr>
            <a:cxnSpLocks/>
          </p:cNvCxnSpPr>
          <p:nvPr/>
        </p:nvCxnSpPr>
        <p:spPr>
          <a:xfrm>
            <a:off x="131339" y="1156944"/>
            <a:ext cx="11861878" cy="9247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0C6E412-376D-4756-838A-32EAE4FF0EB4}"/>
              </a:ext>
            </a:extLst>
          </p:cNvPr>
          <p:cNvCxnSpPr>
            <a:cxnSpLocks/>
          </p:cNvCxnSpPr>
          <p:nvPr/>
        </p:nvCxnSpPr>
        <p:spPr>
          <a:xfrm>
            <a:off x="131339" y="1693657"/>
            <a:ext cx="11870898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3">
            <a:extLst>
              <a:ext uri="{FF2B5EF4-FFF2-40B4-BE49-F238E27FC236}">
                <a16:creationId xmlns:a16="http://schemas.microsoft.com/office/drawing/2014/main" id="{0C39895C-E91E-4026-848D-D50E4C152486}"/>
              </a:ext>
            </a:extLst>
          </p:cNvPr>
          <p:cNvSpPr txBox="1">
            <a:spLocks/>
          </p:cNvSpPr>
          <p:nvPr/>
        </p:nvSpPr>
        <p:spPr>
          <a:xfrm>
            <a:off x="184348" y="1237014"/>
            <a:ext cx="8545139" cy="40124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marL="0" marR="0" lvl="0" indent="0" algn="l" defTabSz="9144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4F008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kia Remaining New site scop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F008C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E1968A6C-0D15-4097-ACF4-A99C6404C9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1136096"/>
              </p:ext>
            </p:extLst>
          </p:nvPr>
        </p:nvGraphicFramePr>
        <p:xfrm>
          <a:off x="239499" y="2165725"/>
          <a:ext cx="11736301" cy="4383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4798423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3F04B9-959C-4A44-A2DE-FF2C45962A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21" imgH="423" progId="">
                  <p:embed/>
                </p:oleObj>
              </mc:Choice>
              <mc:Fallback>
                <p:oleObj name="think-cell Slide" r:id="rId5" imgW="421" imgH="423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3F04B9-959C-4A44-A2DE-FF2C45962A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8D55C1C-204F-4D49-B9E9-98D92E35A5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  <a:effectLst>
            <a:softEdge rad="0"/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C743ADC8-F8F1-684C-A47C-75E55858B70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/>
          <a:srcRect l="13944" r="13944"/>
          <a:stretch>
            <a:fillRect/>
          </a:stretch>
        </p:blipFill>
        <p:spPr>
          <a:xfrm>
            <a:off x="0" y="0"/>
            <a:ext cx="12192000" cy="6858000"/>
          </a:xfr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971B71-B42F-704A-8C96-FF4196774C4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53000"/>
          </a:blip>
          <a:srcRect r="50000" b="55844"/>
          <a:stretch/>
        </p:blipFill>
        <p:spPr>
          <a:xfrm>
            <a:off x="8917558" y="2630658"/>
            <a:ext cx="3274442" cy="4227342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96A3A54D-65CA-48DA-8274-F505EA14068B}"/>
              </a:ext>
            </a:extLst>
          </p:cNvPr>
          <p:cNvSpPr txBox="1">
            <a:spLocks/>
          </p:cNvSpPr>
          <p:nvPr/>
        </p:nvSpPr>
        <p:spPr>
          <a:xfrm>
            <a:off x="4194206" y="2316387"/>
            <a:ext cx="7764549" cy="22252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Tahoma" charset="0"/>
                <a:ea typeface="Tahoma" charset="0"/>
                <a:cs typeface="Tahoma" charset="0"/>
              </a:defRPr>
            </a:lvl1pPr>
          </a:lstStyle>
          <a:p>
            <a:pPr lvl="0">
              <a:defRPr/>
            </a:pPr>
            <a:r>
              <a:rPr lang="en-US" sz="3600" b="1" dirty="0">
                <a:solidFill>
                  <a:srgbClr val="620098"/>
                </a:solidFill>
              </a:rPr>
              <a:t>THANK YOU</a:t>
            </a:r>
          </a:p>
          <a:p>
            <a:pPr lvl="0">
              <a:defRPr/>
            </a:pPr>
            <a:endParaRPr lang="en-US" sz="2000" dirty="0">
              <a:solidFill>
                <a:srgbClr val="620098"/>
              </a:solidFill>
            </a:endParaRPr>
          </a:p>
        </p:txBody>
      </p:sp>
      <p:pic>
        <p:nvPicPr>
          <p:cNvPr id="11" name="Picture 10">
            <a:hlinkClick r:id="rId9" action="ppaction://hlinksldjump"/>
            <a:extLst>
              <a:ext uri="{FF2B5EF4-FFF2-40B4-BE49-F238E27FC236}">
                <a16:creationId xmlns:a16="http://schemas.microsoft.com/office/drawing/2014/main" id="{8CF37181-BD18-4CD7-B7E9-01783E2602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78171" y="5685939"/>
            <a:ext cx="2713829" cy="1015310"/>
          </a:xfrm>
          <a:prstGeom prst="rect">
            <a:avLst/>
          </a:prstGeom>
        </p:spPr>
      </p:pic>
      <p:pic>
        <p:nvPicPr>
          <p:cNvPr id="10" name="Picture 9" descr="Logo">
            <a:extLst>
              <a:ext uri="{FF2B5EF4-FFF2-40B4-BE49-F238E27FC236}">
                <a16:creationId xmlns:a16="http://schemas.microsoft.com/office/drawing/2014/main" id="{A54BD20B-2CF5-4F39-A7EE-3CACC449B55A}"/>
              </a:ext>
            </a:extLst>
          </p:cNvPr>
          <p:cNvPicPr/>
          <p:nvPr/>
        </p:nvPicPr>
        <p:blipFill>
          <a:blip r:embed="rId11" r:link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4195" y="221972"/>
            <a:ext cx="2194560" cy="914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5258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OqX8gTKHvQ1F8_e43v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OqX8gTKHvQ1F8_e43vz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88</TotalTime>
  <Words>127</Words>
  <Application>Microsoft Office PowerPoint</Application>
  <PresentationFormat>Widescreen</PresentationFormat>
  <Paragraphs>4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Century Gothic</vt:lpstr>
      <vt:lpstr>Tahoma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hammed Alshaikh</dc:creator>
  <cp:lastModifiedBy>Mohammed Alshaikh</cp:lastModifiedBy>
  <cp:revision>39</cp:revision>
  <dcterms:created xsi:type="dcterms:W3CDTF">2020-06-02T16:28:13Z</dcterms:created>
  <dcterms:modified xsi:type="dcterms:W3CDTF">2021-10-06T10:44:53Z</dcterms:modified>
</cp:coreProperties>
</file>